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rels" ContentType="application/vnd.openxmlformats-package.relationships+xml"/>
  <Default Extension="xml" ContentType="application/xml"/>
  <Default Extension="fntdata" ContentType="application/x-fontdata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1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embedTrueTypeFonts="1" saveSubsetFonts="1" autoCompressPictures="0">
  <p:sldMasterIdLst>
    <p:sldMasterId id="2147483659" r:id="rId1"/>
  </p:sldMasterIdLst>
  <p:notesMasterIdLst>
    <p:notesMasterId r:id="rId8"/>
  </p:notesMasterIdLst>
  <p:sldIdLst>
    <p:sldId id="256" r:id="rId2"/>
    <p:sldId id="257" r:id="rId3"/>
    <p:sldId id="258" r:id="rId4"/>
    <p:sldId id="262" r:id="rId5"/>
    <p:sldId id="259" r:id="rId6"/>
    <p:sldId id="261" r:id="rId7"/>
  </p:sldIdLst>
  <p:sldSz cx="9144000" cy="5143500" type="screen16x9"/>
  <p:notesSz cx="6858000" cy="9144000"/>
  <p:embeddedFontLst>
    <p:embeddedFont>
      <p:font typeface="Roboto" panose="020B0604020202020204" charset="0"/>
      <p:regular r:id="rId9"/>
      <p:bold r:id="rId10"/>
      <p:italic r:id="rId11"/>
      <p:boldItalic r:id="rId12"/>
    </p:embeddedFont>
    <p:embeddedFont>
      <p:font typeface="Calibri" panose="020F0502020204030204" pitchFamily="34" charset="0"/>
      <p:regular r:id="rId13"/>
      <p:bold r:id="rId14"/>
      <p:italic r:id="rId15"/>
      <p:boldItalic r:id="rId16"/>
    </p:embeddedFont>
    <p:embeddedFont>
      <p:font typeface="Roboto Slab" panose="020B0604020202020204" charset="0"/>
      <p:regular r:id="rId17"/>
      <p:bold r:id="rId18"/>
    </p:embeddedFont>
  </p:embeddedFontLst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>
        <p15:guide id="1" orient="horz" pos="1575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>
        <p:scale>
          <a:sx n="95" d="100"/>
          <a:sy n="95" d="100"/>
        </p:scale>
        <p:origin x="258" y="72"/>
      </p:cViewPr>
      <p:guideLst>
        <p:guide orient="horz" pos="1575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font" Target="fonts/font5.fntdata"/><Relationship Id="rId18" Type="http://schemas.openxmlformats.org/officeDocument/2006/relationships/font" Target="fonts/font10.fntdata"/><Relationship Id="rId3" Type="http://schemas.openxmlformats.org/officeDocument/2006/relationships/slide" Target="slides/slide2.xml"/><Relationship Id="rId21" Type="http://schemas.openxmlformats.org/officeDocument/2006/relationships/theme" Target="theme/theme1.xml"/><Relationship Id="rId7" Type="http://schemas.openxmlformats.org/officeDocument/2006/relationships/slide" Target="slides/slide6.xml"/><Relationship Id="rId12" Type="http://schemas.openxmlformats.org/officeDocument/2006/relationships/font" Target="fonts/font4.fntdata"/><Relationship Id="rId17" Type="http://schemas.openxmlformats.org/officeDocument/2006/relationships/font" Target="fonts/font9.fntdata"/><Relationship Id="rId2" Type="http://schemas.openxmlformats.org/officeDocument/2006/relationships/slide" Target="slides/slide1.xml"/><Relationship Id="rId16" Type="http://schemas.openxmlformats.org/officeDocument/2006/relationships/font" Target="fonts/font8.fntdata"/><Relationship Id="rId2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font" Target="fonts/font3.fntdata"/><Relationship Id="rId5" Type="http://schemas.openxmlformats.org/officeDocument/2006/relationships/slide" Target="slides/slide4.xml"/><Relationship Id="rId15" Type="http://schemas.openxmlformats.org/officeDocument/2006/relationships/font" Target="fonts/font7.fntdata"/><Relationship Id="rId10" Type="http://schemas.openxmlformats.org/officeDocument/2006/relationships/font" Target="fonts/font2.fntdata"/><Relationship Id="rId19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font" Target="fonts/font1.fntdata"/><Relationship Id="rId14" Type="http://schemas.openxmlformats.org/officeDocument/2006/relationships/font" Target="fonts/font6.fntdata"/><Relationship Id="rId22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>
            <a:spLocks noGrp="1" noRot="1" noChangeAspect="1"/>
          </p:cNvSpPr>
          <p:nvPr>
            <p:ph type="sldImg" idx="2"/>
          </p:nvPr>
        </p:nvSpPr>
        <p:spPr>
          <a:xfrm>
            <a:off x="381300" y="685800"/>
            <a:ext cx="609607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4" name="Google Shape;4;n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marR="0" lvl="0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●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○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■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●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○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■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●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○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■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157481299"/>
      </p:ext>
    </p:extLst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" name="Google Shape;60;p1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61" name="Google Shape;61;p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46090606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" name="Google Shape;67;p2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68" name="Google Shape;68;p2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415511465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" name="Google Shape;75;p5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76" name="Google Shape;76;p5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44655840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" name="Google Shape;105;p3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06" name="Google Shape;106;p3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8706936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9" name="Google Shape;99;p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00" name="Google Shape;100;p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42495521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1" name="Google Shape;111;p6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12" name="Google Shape;112;p6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385061451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" type="title">
  <p:cSld name="TITLE"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Google Shape;10;p2"/>
          <p:cNvSpPr/>
          <p:nvPr/>
        </p:nvSpPr>
        <p:spPr>
          <a:xfrm>
            <a:off x="1524800" y="672606"/>
            <a:ext cx="1081625" cy="1124950"/>
          </a:xfrm>
          <a:custGeom>
            <a:avLst/>
            <a:gdLst/>
            <a:ahLst/>
            <a:cxnLst/>
            <a:rect l="l" t="t" r="r" b="b"/>
            <a:pathLst>
              <a:path w="43265" h="44998" extrusionOk="0">
                <a:moveTo>
                  <a:pt x="0" y="44998"/>
                </a:moveTo>
                <a:lnTo>
                  <a:pt x="0" y="0"/>
                </a:lnTo>
                <a:lnTo>
                  <a:pt x="43265" y="0"/>
                </a:lnTo>
              </a:path>
            </a:pathLst>
          </a:custGeom>
          <a:noFill/>
          <a:ln w="28575" cap="flat" cmpd="sng">
            <a:solidFill>
              <a:schemeClr val="accent5"/>
            </a:solidFill>
            <a:prstDash val="solid"/>
            <a:miter lim="8000"/>
            <a:headEnd type="none" w="sm" len="sm"/>
            <a:tailEnd type="none" w="sm" len="sm"/>
          </a:ln>
        </p:spPr>
      </p:sp>
      <p:sp>
        <p:nvSpPr>
          <p:cNvPr id="11" name="Google Shape;11;p2"/>
          <p:cNvSpPr/>
          <p:nvPr/>
        </p:nvSpPr>
        <p:spPr>
          <a:xfrm rot="10800000">
            <a:off x="6537563" y="3342925"/>
            <a:ext cx="1081625" cy="1124950"/>
          </a:xfrm>
          <a:custGeom>
            <a:avLst/>
            <a:gdLst/>
            <a:ahLst/>
            <a:cxnLst/>
            <a:rect l="l" t="t" r="r" b="b"/>
            <a:pathLst>
              <a:path w="43265" h="44998" extrusionOk="0">
                <a:moveTo>
                  <a:pt x="0" y="44998"/>
                </a:moveTo>
                <a:lnTo>
                  <a:pt x="0" y="0"/>
                </a:lnTo>
                <a:lnTo>
                  <a:pt x="43265" y="0"/>
                </a:lnTo>
              </a:path>
            </a:pathLst>
          </a:custGeom>
          <a:noFill/>
          <a:ln w="28575" cap="flat" cmpd="sng">
            <a:solidFill>
              <a:schemeClr val="accent5"/>
            </a:solidFill>
            <a:prstDash val="solid"/>
            <a:miter lim="8000"/>
            <a:headEnd type="none" w="sm" len="sm"/>
            <a:tailEnd type="none" w="sm" len="sm"/>
          </a:ln>
        </p:spPr>
      </p:sp>
      <p:cxnSp>
        <p:nvCxnSpPr>
          <p:cNvPr id="12" name="Google Shape;12;p2"/>
          <p:cNvCxnSpPr/>
          <p:nvPr/>
        </p:nvCxnSpPr>
        <p:spPr>
          <a:xfrm>
            <a:off x="4359602" y="2817464"/>
            <a:ext cx="424800" cy="0"/>
          </a:xfrm>
          <a:prstGeom prst="straightConnector1">
            <a:avLst/>
          </a:prstGeom>
          <a:noFill/>
          <a:ln w="38100" cap="flat" cmpd="sng">
            <a:solidFill>
              <a:schemeClr val="accent4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13" name="Google Shape;13;p2"/>
          <p:cNvSpPr txBox="1">
            <a:spLocks noGrp="1"/>
          </p:cNvSpPr>
          <p:nvPr>
            <p:ph type="ctrTitle"/>
          </p:nvPr>
        </p:nvSpPr>
        <p:spPr>
          <a:xfrm>
            <a:off x="1680302" y="1188925"/>
            <a:ext cx="5783400" cy="1457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000"/>
              <a:buNone/>
              <a:defRPr sz="4000"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000"/>
              <a:buNone/>
              <a:defRPr sz="4000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000"/>
              <a:buNone/>
              <a:defRPr sz="4000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000"/>
              <a:buNone/>
              <a:defRPr sz="4000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000"/>
              <a:buNone/>
              <a:defRPr sz="4000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000"/>
              <a:buNone/>
              <a:defRPr sz="4000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000"/>
              <a:buNone/>
              <a:defRPr sz="4000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000"/>
              <a:buNone/>
              <a:defRPr sz="4000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000"/>
              <a:buNone/>
              <a:defRPr sz="4000"/>
            </a:lvl9pPr>
          </a:lstStyle>
          <a:p>
            <a:endParaRPr/>
          </a:p>
        </p:txBody>
      </p:sp>
      <p:sp>
        <p:nvSpPr>
          <p:cNvPr id="14" name="Google Shape;14;p2"/>
          <p:cNvSpPr txBox="1">
            <a:spLocks noGrp="1"/>
          </p:cNvSpPr>
          <p:nvPr>
            <p:ph type="subTitle" idx="1"/>
          </p:nvPr>
        </p:nvSpPr>
        <p:spPr>
          <a:xfrm>
            <a:off x="1680302" y="3049450"/>
            <a:ext cx="5783400" cy="909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5"/>
              </a:buClr>
              <a:buSzPts val="2400"/>
              <a:buFont typeface="Roboto Slab"/>
              <a:buNone/>
              <a:defRPr sz="2400">
                <a:solidFill>
                  <a:schemeClr val="accent5"/>
                </a:solidFill>
                <a:latin typeface="Roboto Slab"/>
                <a:ea typeface="Roboto Slab"/>
                <a:cs typeface="Roboto Slab"/>
                <a:sym typeface="Roboto Slab"/>
              </a:defRPr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5"/>
              </a:buClr>
              <a:buSzPts val="2400"/>
              <a:buFont typeface="Roboto Slab"/>
              <a:buNone/>
              <a:defRPr sz="2400">
                <a:solidFill>
                  <a:schemeClr val="accent5"/>
                </a:solidFill>
                <a:latin typeface="Roboto Slab"/>
                <a:ea typeface="Roboto Slab"/>
                <a:cs typeface="Roboto Slab"/>
                <a:sym typeface="Roboto Slab"/>
              </a:defRPr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5"/>
              </a:buClr>
              <a:buSzPts val="2400"/>
              <a:buFont typeface="Roboto Slab"/>
              <a:buNone/>
              <a:defRPr sz="2400">
                <a:solidFill>
                  <a:schemeClr val="accent5"/>
                </a:solidFill>
                <a:latin typeface="Roboto Slab"/>
                <a:ea typeface="Roboto Slab"/>
                <a:cs typeface="Roboto Slab"/>
                <a:sym typeface="Roboto Slab"/>
              </a:defRPr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5"/>
              </a:buClr>
              <a:buSzPts val="2400"/>
              <a:buFont typeface="Roboto Slab"/>
              <a:buNone/>
              <a:defRPr sz="2400">
                <a:solidFill>
                  <a:schemeClr val="accent5"/>
                </a:solidFill>
                <a:latin typeface="Roboto Slab"/>
                <a:ea typeface="Roboto Slab"/>
                <a:cs typeface="Roboto Slab"/>
                <a:sym typeface="Roboto Slab"/>
              </a:defRPr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5"/>
              </a:buClr>
              <a:buSzPts val="2400"/>
              <a:buFont typeface="Roboto Slab"/>
              <a:buNone/>
              <a:defRPr sz="2400">
                <a:solidFill>
                  <a:schemeClr val="accent5"/>
                </a:solidFill>
                <a:latin typeface="Roboto Slab"/>
                <a:ea typeface="Roboto Slab"/>
                <a:cs typeface="Roboto Slab"/>
                <a:sym typeface="Roboto Slab"/>
              </a:defRPr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5"/>
              </a:buClr>
              <a:buSzPts val="2400"/>
              <a:buFont typeface="Roboto Slab"/>
              <a:buNone/>
              <a:defRPr sz="2400">
                <a:solidFill>
                  <a:schemeClr val="accent5"/>
                </a:solidFill>
                <a:latin typeface="Roboto Slab"/>
                <a:ea typeface="Roboto Slab"/>
                <a:cs typeface="Roboto Slab"/>
                <a:sym typeface="Roboto Slab"/>
              </a:defRPr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5"/>
              </a:buClr>
              <a:buSzPts val="2400"/>
              <a:buFont typeface="Roboto Slab"/>
              <a:buNone/>
              <a:defRPr sz="2400">
                <a:solidFill>
                  <a:schemeClr val="accent5"/>
                </a:solidFill>
                <a:latin typeface="Roboto Slab"/>
                <a:ea typeface="Roboto Slab"/>
                <a:cs typeface="Roboto Slab"/>
                <a:sym typeface="Roboto Slab"/>
              </a:defRPr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5"/>
              </a:buClr>
              <a:buSzPts val="2400"/>
              <a:buFont typeface="Roboto Slab"/>
              <a:buNone/>
              <a:defRPr sz="2400">
                <a:solidFill>
                  <a:schemeClr val="accent5"/>
                </a:solidFill>
                <a:latin typeface="Roboto Slab"/>
                <a:ea typeface="Roboto Slab"/>
                <a:cs typeface="Roboto Slab"/>
                <a:sym typeface="Roboto Slab"/>
              </a:defRPr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5"/>
              </a:buClr>
              <a:buSzPts val="2400"/>
              <a:buFont typeface="Roboto Slab"/>
              <a:buNone/>
              <a:defRPr sz="2400">
                <a:solidFill>
                  <a:schemeClr val="accent5"/>
                </a:solidFill>
                <a:latin typeface="Roboto Slab"/>
                <a:ea typeface="Roboto Slab"/>
                <a:cs typeface="Roboto Slab"/>
                <a:sym typeface="Roboto Slab"/>
              </a:defRPr>
            </a:lvl9pPr>
          </a:lstStyle>
          <a:p>
            <a:endParaRPr/>
          </a:p>
        </p:txBody>
      </p:sp>
      <p:sp>
        <p:nvSpPr>
          <p:cNvPr id="15" name="Google Shape;15;p2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pt-BR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ig number">
  <p:cSld name="BIG_NUMBER">
    <p:spTree>
      <p:nvGrpSpPr>
        <p:cNvPr id="1" name="Shape 5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" name="Google Shape;53;p11"/>
          <p:cNvSpPr/>
          <p:nvPr/>
        </p:nvSpPr>
        <p:spPr>
          <a:xfrm>
            <a:off x="150" y="5076825"/>
            <a:ext cx="9143700" cy="666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4" name="Google Shape;54;p11"/>
          <p:cNvSpPr txBox="1">
            <a:spLocks noGrp="1"/>
          </p:cNvSpPr>
          <p:nvPr>
            <p:ph type="title" hasCustomPrompt="1"/>
          </p:nvPr>
        </p:nvSpPr>
        <p:spPr>
          <a:xfrm>
            <a:off x="387900" y="1152450"/>
            <a:ext cx="8368200" cy="1538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5"/>
              </a:buClr>
              <a:buSzPts val="13000"/>
              <a:buNone/>
              <a:defRPr sz="13000">
                <a:solidFill>
                  <a:schemeClr val="accent5"/>
                </a:solidFill>
              </a:defRPr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5"/>
              </a:buClr>
              <a:buSzPts val="13000"/>
              <a:buNone/>
              <a:defRPr sz="13000">
                <a:solidFill>
                  <a:schemeClr val="accent5"/>
                </a:solidFill>
              </a:defRPr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5"/>
              </a:buClr>
              <a:buSzPts val="13000"/>
              <a:buNone/>
              <a:defRPr sz="13000">
                <a:solidFill>
                  <a:schemeClr val="accent5"/>
                </a:solidFill>
              </a:defRPr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5"/>
              </a:buClr>
              <a:buSzPts val="13000"/>
              <a:buNone/>
              <a:defRPr sz="13000">
                <a:solidFill>
                  <a:schemeClr val="accent5"/>
                </a:solidFill>
              </a:defRPr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5"/>
              </a:buClr>
              <a:buSzPts val="13000"/>
              <a:buNone/>
              <a:defRPr sz="13000">
                <a:solidFill>
                  <a:schemeClr val="accent5"/>
                </a:solidFill>
              </a:defRPr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5"/>
              </a:buClr>
              <a:buSzPts val="13000"/>
              <a:buNone/>
              <a:defRPr sz="13000">
                <a:solidFill>
                  <a:schemeClr val="accent5"/>
                </a:solidFill>
              </a:defRPr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5"/>
              </a:buClr>
              <a:buSzPts val="13000"/>
              <a:buNone/>
              <a:defRPr sz="13000">
                <a:solidFill>
                  <a:schemeClr val="accent5"/>
                </a:solidFill>
              </a:defRPr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5"/>
              </a:buClr>
              <a:buSzPts val="13000"/>
              <a:buNone/>
              <a:defRPr sz="13000">
                <a:solidFill>
                  <a:schemeClr val="accent5"/>
                </a:solidFill>
              </a:defRPr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5"/>
              </a:buClr>
              <a:buSzPts val="13000"/>
              <a:buNone/>
              <a:defRPr sz="13000">
                <a:solidFill>
                  <a:schemeClr val="accent5"/>
                </a:solidFill>
              </a:defRPr>
            </a:lvl9pPr>
          </a:lstStyle>
          <a:p>
            <a:r>
              <a:t>xx%</a:t>
            </a:r>
          </a:p>
        </p:txBody>
      </p:sp>
      <p:sp>
        <p:nvSpPr>
          <p:cNvPr id="55" name="Google Shape;55;p11"/>
          <p:cNvSpPr txBox="1">
            <a:spLocks noGrp="1"/>
          </p:cNvSpPr>
          <p:nvPr>
            <p:ph type="body" idx="1"/>
          </p:nvPr>
        </p:nvSpPr>
        <p:spPr>
          <a:xfrm>
            <a:off x="387900" y="2919450"/>
            <a:ext cx="8368200" cy="1071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342900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914400" lvl="1" indent="-317500" algn="ctr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algn="ctr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algn="ctr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algn="ctr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algn="ctr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algn="ctr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algn="ctr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algn="ctr">
              <a:lnSpc>
                <a:spcPct val="115000"/>
              </a:lnSpc>
              <a:spcBef>
                <a:spcPts val="1600"/>
              </a:spcBef>
              <a:spcAft>
                <a:spcPts val="160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56" name="Google Shape;56;p11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pt-BR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" name="Google Shape;58;p12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pt-BR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title and description">
  <p:cSld name="SECTION_TITLE_AND_DESCRIPTION">
    <p:spTree>
      <p:nvGrpSpPr>
        <p:cNvPr id="1" name="Shape 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Google Shape;17;p3"/>
          <p:cNvSpPr/>
          <p:nvPr/>
        </p:nvSpPr>
        <p:spPr>
          <a:xfrm>
            <a:off x="4572000" y="-75"/>
            <a:ext cx="4572000" cy="5143500"/>
          </a:xfrm>
          <a:prstGeom prst="rect">
            <a:avLst/>
          </a:prstGeom>
          <a:solidFill>
            <a:schemeClr val="dk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18" name="Google Shape;18;p3"/>
          <p:cNvCxnSpPr/>
          <p:nvPr/>
        </p:nvCxnSpPr>
        <p:spPr>
          <a:xfrm>
            <a:off x="5029675" y="4495503"/>
            <a:ext cx="540900" cy="0"/>
          </a:xfrm>
          <a:prstGeom prst="straightConnector1">
            <a:avLst/>
          </a:prstGeom>
          <a:noFill/>
          <a:ln w="38100" cap="flat" cmpd="sng">
            <a:solidFill>
              <a:schemeClr val="accent5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19" name="Google Shape;19;p3"/>
          <p:cNvSpPr txBox="1">
            <a:spLocks noGrp="1"/>
          </p:cNvSpPr>
          <p:nvPr>
            <p:ph type="title"/>
          </p:nvPr>
        </p:nvSpPr>
        <p:spPr>
          <a:xfrm>
            <a:off x="265500" y="1209075"/>
            <a:ext cx="4045200" cy="1506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800"/>
              <a:buNone/>
              <a:defRPr sz="3800"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800"/>
              <a:buNone/>
              <a:defRPr sz="3800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800"/>
              <a:buNone/>
              <a:defRPr sz="3800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800"/>
              <a:buNone/>
              <a:defRPr sz="3800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800"/>
              <a:buNone/>
              <a:defRPr sz="3800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800"/>
              <a:buNone/>
              <a:defRPr sz="3800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800"/>
              <a:buNone/>
              <a:defRPr sz="3800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800"/>
              <a:buNone/>
              <a:defRPr sz="3800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800"/>
              <a:buNone/>
              <a:defRPr sz="3800"/>
            </a:lvl9pPr>
          </a:lstStyle>
          <a:p>
            <a:endParaRPr/>
          </a:p>
        </p:txBody>
      </p:sp>
      <p:sp>
        <p:nvSpPr>
          <p:cNvPr id="20" name="Google Shape;20;p3"/>
          <p:cNvSpPr txBox="1">
            <a:spLocks noGrp="1"/>
          </p:cNvSpPr>
          <p:nvPr>
            <p:ph type="subTitle" idx="1"/>
          </p:nvPr>
        </p:nvSpPr>
        <p:spPr>
          <a:xfrm>
            <a:off x="265500" y="2769001"/>
            <a:ext cx="4045200" cy="1345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5"/>
              </a:buClr>
              <a:buSzPts val="2100"/>
              <a:buNone/>
              <a:defRPr sz="2100">
                <a:solidFill>
                  <a:schemeClr val="accent5"/>
                </a:solidFill>
              </a:defRPr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5"/>
              </a:buClr>
              <a:buSzPts val="2100"/>
              <a:buNone/>
              <a:defRPr sz="2100">
                <a:solidFill>
                  <a:schemeClr val="accent5"/>
                </a:solidFill>
              </a:defRPr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5"/>
              </a:buClr>
              <a:buSzPts val="2100"/>
              <a:buNone/>
              <a:defRPr sz="2100">
                <a:solidFill>
                  <a:schemeClr val="accent5"/>
                </a:solidFill>
              </a:defRPr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5"/>
              </a:buClr>
              <a:buSzPts val="2100"/>
              <a:buNone/>
              <a:defRPr sz="2100">
                <a:solidFill>
                  <a:schemeClr val="accent5"/>
                </a:solidFill>
              </a:defRPr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5"/>
              </a:buClr>
              <a:buSzPts val="2100"/>
              <a:buNone/>
              <a:defRPr sz="2100">
                <a:solidFill>
                  <a:schemeClr val="accent5"/>
                </a:solidFill>
              </a:defRPr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5"/>
              </a:buClr>
              <a:buSzPts val="2100"/>
              <a:buNone/>
              <a:defRPr sz="2100">
                <a:solidFill>
                  <a:schemeClr val="accent5"/>
                </a:solidFill>
              </a:defRPr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5"/>
              </a:buClr>
              <a:buSzPts val="2100"/>
              <a:buNone/>
              <a:defRPr sz="2100">
                <a:solidFill>
                  <a:schemeClr val="accent5"/>
                </a:solidFill>
              </a:defRPr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5"/>
              </a:buClr>
              <a:buSzPts val="2100"/>
              <a:buNone/>
              <a:defRPr sz="2100">
                <a:solidFill>
                  <a:schemeClr val="accent5"/>
                </a:solidFill>
              </a:defRPr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5"/>
              </a:buClr>
              <a:buSzPts val="2100"/>
              <a:buNone/>
              <a:defRPr sz="2100">
                <a:solidFill>
                  <a:schemeClr val="accent5"/>
                </a:solidFill>
              </a:defRPr>
            </a:lvl9pPr>
          </a:lstStyle>
          <a:p>
            <a:endParaRPr/>
          </a:p>
        </p:txBody>
      </p:sp>
      <p:sp>
        <p:nvSpPr>
          <p:cNvPr id="21" name="Google Shape;21;p3"/>
          <p:cNvSpPr txBox="1">
            <a:spLocks noGrp="1"/>
          </p:cNvSpPr>
          <p:nvPr>
            <p:ph type="body" idx="2"/>
          </p:nvPr>
        </p:nvSpPr>
        <p:spPr>
          <a:xfrm>
            <a:off x="4939500" y="724200"/>
            <a:ext cx="3837000" cy="369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457200" lvl="0" indent="-3429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914400" lvl="1" indent="-317500" algn="l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algn="l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algn="l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algn="l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algn="l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algn="l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algn="l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algn="l">
              <a:lnSpc>
                <a:spcPct val="115000"/>
              </a:lnSpc>
              <a:spcBef>
                <a:spcPts val="1600"/>
              </a:spcBef>
              <a:spcAft>
                <a:spcPts val="160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22" name="Google Shape;22;p3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pt-BR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ody" type="tx">
  <p:cSld name="TITLE_AND_BODY">
    <p:spTree>
      <p:nvGrpSpPr>
        <p:cNvPr id="1" name="Shape 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4" name="Google Shape;24;p4"/>
          <p:cNvCxnSpPr/>
          <p:nvPr/>
        </p:nvCxnSpPr>
        <p:spPr>
          <a:xfrm>
            <a:off x="492563" y="1260284"/>
            <a:ext cx="424800" cy="0"/>
          </a:xfrm>
          <a:prstGeom prst="straightConnector1">
            <a:avLst/>
          </a:prstGeom>
          <a:noFill/>
          <a:ln w="38100" cap="flat" cmpd="sng">
            <a:solidFill>
              <a:schemeClr val="accent4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25" name="Google Shape;25;p4"/>
          <p:cNvSpPr txBox="1">
            <a:spLocks noGrp="1"/>
          </p:cNvSpPr>
          <p:nvPr>
            <p:ph type="title"/>
          </p:nvPr>
        </p:nvSpPr>
        <p:spPr>
          <a:xfrm>
            <a:off x="387900" y="458025"/>
            <a:ext cx="8368200" cy="686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9pPr>
          </a:lstStyle>
          <a:p>
            <a:endParaRPr/>
          </a:p>
        </p:txBody>
      </p:sp>
      <p:sp>
        <p:nvSpPr>
          <p:cNvPr id="26" name="Google Shape;26;p4"/>
          <p:cNvSpPr txBox="1">
            <a:spLocks noGrp="1"/>
          </p:cNvSpPr>
          <p:nvPr>
            <p:ph type="body" idx="1"/>
          </p:nvPr>
        </p:nvSpPr>
        <p:spPr>
          <a:xfrm>
            <a:off x="387900" y="1489824"/>
            <a:ext cx="8368200" cy="3078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3429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914400" lvl="1" indent="-317500" algn="l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algn="l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algn="l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algn="l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algn="l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algn="l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algn="l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algn="l">
              <a:lnSpc>
                <a:spcPct val="115000"/>
              </a:lnSpc>
              <a:spcBef>
                <a:spcPts val="1600"/>
              </a:spcBef>
              <a:spcAft>
                <a:spcPts val="160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27" name="Google Shape;27;p4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pt-BR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header" type="secHead">
  <p:cSld name="SECTION_HEADER">
    <p:spTree>
      <p:nvGrpSpPr>
        <p:cNvPr id="1" name="Shape 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9" name="Google Shape;29;p5"/>
          <p:cNvCxnSpPr/>
          <p:nvPr/>
        </p:nvCxnSpPr>
        <p:spPr>
          <a:xfrm>
            <a:off x="4359602" y="2817464"/>
            <a:ext cx="424800" cy="0"/>
          </a:xfrm>
          <a:prstGeom prst="straightConnector1">
            <a:avLst/>
          </a:prstGeom>
          <a:noFill/>
          <a:ln w="38100" cap="flat" cmpd="sng">
            <a:solidFill>
              <a:schemeClr val="accent4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30" name="Google Shape;30;p5"/>
          <p:cNvSpPr txBox="1">
            <a:spLocks noGrp="1"/>
          </p:cNvSpPr>
          <p:nvPr>
            <p:ph type="title"/>
          </p:nvPr>
        </p:nvSpPr>
        <p:spPr>
          <a:xfrm>
            <a:off x="480750" y="1764950"/>
            <a:ext cx="8222100" cy="907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9pPr>
          </a:lstStyle>
          <a:p>
            <a:endParaRPr/>
          </a:p>
        </p:txBody>
      </p:sp>
      <p:sp>
        <p:nvSpPr>
          <p:cNvPr id="31" name="Google Shape;31;p5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pt-BR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wo columns" type="twoColTx">
  <p:cSld name="TITLE_AND_TWO_COLUMNS">
    <p:spTree>
      <p:nvGrpSpPr>
        <p:cNvPr id="1" name="Shape 3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3" name="Google Shape;33;p6"/>
          <p:cNvCxnSpPr/>
          <p:nvPr/>
        </p:nvCxnSpPr>
        <p:spPr>
          <a:xfrm>
            <a:off x="492563" y="1260284"/>
            <a:ext cx="424800" cy="0"/>
          </a:xfrm>
          <a:prstGeom prst="straightConnector1">
            <a:avLst/>
          </a:prstGeom>
          <a:noFill/>
          <a:ln w="38100" cap="flat" cmpd="sng">
            <a:solidFill>
              <a:schemeClr val="accent4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34" name="Google Shape;34;p6"/>
          <p:cNvSpPr txBox="1">
            <a:spLocks noGrp="1"/>
          </p:cNvSpPr>
          <p:nvPr>
            <p:ph type="title"/>
          </p:nvPr>
        </p:nvSpPr>
        <p:spPr>
          <a:xfrm>
            <a:off x="387900" y="458025"/>
            <a:ext cx="8368200" cy="686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9pPr>
          </a:lstStyle>
          <a:p>
            <a:endParaRPr/>
          </a:p>
        </p:txBody>
      </p:sp>
      <p:sp>
        <p:nvSpPr>
          <p:cNvPr id="35" name="Google Shape;35;p6"/>
          <p:cNvSpPr txBox="1">
            <a:spLocks noGrp="1"/>
          </p:cNvSpPr>
          <p:nvPr>
            <p:ph type="body" idx="1"/>
          </p:nvPr>
        </p:nvSpPr>
        <p:spPr>
          <a:xfrm>
            <a:off x="387900" y="1489825"/>
            <a:ext cx="3999900" cy="3078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400"/>
            </a:lvl1pPr>
            <a:lvl2pPr marL="914400" lvl="1" indent="-304800" algn="l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SzPts val="1200"/>
              <a:buChar char="○"/>
              <a:defRPr sz="1200"/>
            </a:lvl2pPr>
            <a:lvl3pPr marL="1371600" lvl="2" indent="-304800" algn="l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SzPts val="1200"/>
              <a:buChar char="■"/>
              <a:defRPr sz="1200"/>
            </a:lvl3pPr>
            <a:lvl4pPr marL="1828800" lvl="3" indent="-304800" algn="l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SzPts val="1200"/>
              <a:buChar char="●"/>
              <a:defRPr sz="1200"/>
            </a:lvl4pPr>
            <a:lvl5pPr marL="2286000" lvl="4" indent="-304800" algn="l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SzPts val="1200"/>
              <a:buChar char="○"/>
              <a:defRPr sz="1200"/>
            </a:lvl5pPr>
            <a:lvl6pPr marL="2743200" lvl="5" indent="-304800" algn="l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SzPts val="1200"/>
              <a:buChar char="■"/>
              <a:defRPr sz="1200"/>
            </a:lvl6pPr>
            <a:lvl7pPr marL="3200400" lvl="6" indent="-304800" algn="l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SzPts val="1200"/>
              <a:buChar char="●"/>
              <a:defRPr sz="1200"/>
            </a:lvl7pPr>
            <a:lvl8pPr marL="3657600" lvl="7" indent="-304800" algn="l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SzPts val="1200"/>
              <a:buChar char="○"/>
              <a:defRPr sz="1200"/>
            </a:lvl8pPr>
            <a:lvl9pPr marL="4114800" lvl="8" indent="-304800" algn="l">
              <a:lnSpc>
                <a:spcPct val="115000"/>
              </a:lnSpc>
              <a:spcBef>
                <a:spcPts val="1600"/>
              </a:spcBef>
              <a:spcAft>
                <a:spcPts val="1600"/>
              </a:spcAft>
              <a:buSzPts val="1200"/>
              <a:buChar char="■"/>
              <a:defRPr sz="1200"/>
            </a:lvl9pPr>
          </a:lstStyle>
          <a:p>
            <a:endParaRPr/>
          </a:p>
        </p:txBody>
      </p:sp>
      <p:sp>
        <p:nvSpPr>
          <p:cNvPr id="36" name="Google Shape;36;p6"/>
          <p:cNvSpPr txBox="1">
            <a:spLocks noGrp="1"/>
          </p:cNvSpPr>
          <p:nvPr>
            <p:ph type="body" idx="2"/>
          </p:nvPr>
        </p:nvSpPr>
        <p:spPr>
          <a:xfrm>
            <a:off x="4756200" y="1489825"/>
            <a:ext cx="3999900" cy="3078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400"/>
            </a:lvl1pPr>
            <a:lvl2pPr marL="914400" lvl="1" indent="-304800" algn="l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SzPts val="1200"/>
              <a:buChar char="○"/>
              <a:defRPr sz="1200"/>
            </a:lvl2pPr>
            <a:lvl3pPr marL="1371600" lvl="2" indent="-304800" algn="l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SzPts val="1200"/>
              <a:buChar char="■"/>
              <a:defRPr sz="1200"/>
            </a:lvl3pPr>
            <a:lvl4pPr marL="1828800" lvl="3" indent="-304800" algn="l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SzPts val="1200"/>
              <a:buChar char="●"/>
              <a:defRPr sz="1200"/>
            </a:lvl4pPr>
            <a:lvl5pPr marL="2286000" lvl="4" indent="-304800" algn="l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SzPts val="1200"/>
              <a:buChar char="○"/>
              <a:defRPr sz="1200"/>
            </a:lvl5pPr>
            <a:lvl6pPr marL="2743200" lvl="5" indent="-304800" algn="l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SzPts val="1200"/>
              <a:buChar char="■"/>
              <a:defRPr sz="1200"/>
            </a:lvl6pPr>
            <a:lvl7pPr marL="3200400" lvl="6" indent="-304800" algn="l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SzPts val="1200"/>
              <a:buChar char="●"/>
              <a:defRPr sz="1200"/>
            </a:lvl7pPr>
            <a:lvl8pPr marL="3657600" lvl="7" indent="-304800" algn="l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SzPts val="1200"/>
              <a:buChar char="○"/>
              <a:defRPr sz="1200"/>
            </a:lvl8pPr>
            <a:lvl9pPr marL="4114800" lvl="8" indent="-304800" algn="l">
              <a:lnSpc>
                <a:spcPct val="115000"/>
              </a:lnSpc>
              <a:spcBef>
                <a:spcPts val="1600"/>
              </a:spcBef>
              <a:spcAft>
                <a:spcPts val="1600"/>
              </a:spcAft>
              <a:buSzPts val="1200"/>
              <a:buChar char="■"/>
              <a:defRPr sz="1200"/>
            </a:lvl9pPr>
          </a:lstStyle>
          <a:p>
            <a:endParaRPr/>
          </a:p>
        </p:txBody>
      </p:sp>
      <p:sp>
        <p:nvSpPr>
          <p:cNvPr id="37" name="Google Shape;37;p6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pt-BR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type="titleOnly">
  <p:cSld name="TITLE_ONLY">
    <p:spTree>
      <p:nvGrpSpPr>
        <p:cNvPr id="1" name="Shape 3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Google Shape;39;p7"/>
          <p:cNvSpPr txBox="1">
            <a:spLocks noGrp="1"/>
          </p:cNvSpPr>
          <p:nvPr>
            <p:ph type="title"/>
          </p:nvPr>
        </p:nvSpPr>
        <p:spPr>
          <a:xfrm>
            <a:off x="387900" y="458025"/>
            <a:ext cx="8368200" cy="686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9pPr>
          </a:lstStyle>
          <a:p>
            <a:endParaRPr/>
          </a:p>
        </p:txBody>
      </p:sp>
      <p:sp>
        <p:nvSpPr>
          <p:cNvPr id="40" name="Google Shape;40;p7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pt-BR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column text">
  <p:cSld name="ONE_COLUMN_TEXT">
    <p:spTree>
      <p:nvGrpSpPr>
        <p:cNvPr id="1" name="Shape 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2" name="Google Shape;42;p8"/>
          <p:cNvCxnSpPr/>
          <p:nvPr/>
        </p:nvCxnSpPr>
        <p:spPr>
          <a:xfrm>
            <a:off x="489218" y="1412277"/>
            <a:ext cx="331500" cy="0"/>
          </a:xfrm>
          <a:prstGeom prst="straightConnector1">
            <a:avLst/>
          </a:prstGeom>
          <a:noFill/>
          <a:ln w="38100" cap="flat" cmpd="sng">
            <a:solidFill>
              <a:schemeClr val="accent4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43" name="Google Shape;43;p8"/>
          <p:cNvSpPr txBox="1">
            <a:spLocks noGrp="1"/>
          </p:cNvSpPr>
          <p:nvPr>
            <p:ph type="title"/>
          </p:nvPr>
        </p:nvSpPr>
        <p:spPr>
          <a:xfrm>
            <a:off x="387900" y="555600"/>
            <a:ext cx="2808000" cy="75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9pPr>
          </a:lstStyle>
          <a:p>
            <a:endParaRPr/>
          </a:p>
        </p:txBody>
      </p:sp>
      <p:sp>
        <p:nvSpPr>
          <p:cNvPr id="44" name="Google Shape;44;p8"/>
          <p:cNvSpPr txBox="1">
            <a:spLocks noGrp="1"/>
          </p:cNvSpPr>
          <p:nvPr>
            <p:ph type="body" idx="1"/>
          </p:nvPr>
        </p:nvSpPr>
        <p:spPr>
          <a:xfrm>
            <a:off x="387900" y="1594025"/>
            <a:ext cx="2808000" cy="2681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200"/>
            </a:lvl1pPr>
            <a:lvl2pPr marL="914400" lvl="1" indent="-304800" algn="l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SzPts val="1200"/>
              <a:buChar char="○"/>
              <a:defRPr sz="1200"/>
            </a:lvl2pPr>
            <a:lvl3pPr marL="1371600" lvl="2" indent="-304800" algn="l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SzPts val="1200"/>
              <a:buChar char="■"/>
              <a:defRPr sz="1200"/>
            </a:lvl3pPr>
            <a:lvl4pPr marL="1828800" lvl="3" indent="-304800" algn="l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SzPts val="1200"/>
              <a:buChar char="●"/>
              <a:defRPr sz="1200"/>
            </a:lvl4pPr>
            <a:lvl5pPr marL="2286000" lvl="4" indent="-304800" algn="l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SzPts val="1200"/>
              <a:buChar char="○"/>
              <a:defRPr sz="1200"/>
            </a:lvl5pPr>
            <a:lvl6pPr marL="2743200" lvl="5" indent="-304800" algn="l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SzPts val="1200"/>
              <a:buChar char="■"/>
              <a:defRPr sz="1200"/>
            </a:lvl6pPr>
            <a:lvl7pPr marL="3200400" lvl="6" indent="-304800" algn="l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SzPts val="1200"/>
              <a:buChar char="●"/>
              <a:defRPr sz="1200"/>
            </a:lvl7pPr>
            <a:lvl8pPr marL="3657600" lvl="7" indent="-304800" algn="l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SzPts val="1200"/>
              <a:buChar char="○"/>
              <a:defRPr sz="1200"/>
            </a:lvl8pPr>
            <a:lvl9pPr marL="4114800" lvl="8" indent="-304800" algn="l">
              <a:lnSpc>
                <a:spcPct val="115000"/>
              </a:lnSpc>
              <a:spcBef>
                <a:spcPts val="1600"/>
              </a:spcBef>
              <a:spcAft>
                <a:spcPts val="1600"/>
              </a:spcAft>
              <a:buSzPts val="1200"/>
              <a:buChar char="■"/>
              <a:defRPr sz="1200"/>
            </a:lvl9pPr>
          </a:lstStyle>
          <a:p>
            <a:endParaRPr/>
          </a:p>
        </p:txBody>
      </p:sp>
      <p:sp>
        <p:nvSpPr>
          <p:cNvPr id="45" name="Google Shape;45;p8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pt-BR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Main point">
  <p:cSld name="MAIN_POINT">
    <p:spTree>
      <p:nvGrpSpPr>
        <p:cNvPr id="1" name="Shape 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Google Shape;47;p9"/>
          <p:cNvSpPr txBox="1">
            <a:spLocks noGrp="1"/>
          </p:cNvSpPr>
          <p:nvPr>
            <p:ph type="title"/>
          </p:nvPr>
        </p:nvSpPr>
        <p:spPr>
          <a:xfrm>
            <a:off x="490250" y="526350"/>
            <a:ext cx="5618700" cy="4090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9pPr>
          </a:lstStyle>
          <a:p>
            <a:endParaRPr/>
          </a:p>
        </p:txBody>
      </p:sp>
      <p:sp>
        <p:nvSpPr>
          <p:cNvPr id="48" name="Google Shape;48;p9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pt-BR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aption">
  <p:cSld name="CAPTION_ONLY">
    <p:spTree>
      <p:nvGrpSpPr>
        <p:cNvPr id="1" name="Shape 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" name="Google Shape;50;p10"/>
          <p:cNvSpPr txBox="1">
            <a:spLocks noGrp="1"/>
          </p:cNvSpPr>
          <p:nvPr>
            <p:ph type="body" idx="1"/>
          </p:nvPr>
        </p:nvSpPr>
        <p:spPr>
          <a:xfrm>
            <a:off x="319500" y="4233725"/>
            <a:ext cx="5998800" cy="59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Roboto Slab"/>
              <a:buNone/>
              <a:defRPr>
                <a:latin typeface="Roboto Slab"/>
                <a:ea typeface="Roboto Slab"/>
                <a:cs typeface="Roboto Slab"/>
                <a:sym typeface="Roboto Slab"/>
              </a:defRPr>
            </a:lvl1pPr>
          </a:lstStyle>
          <a:p>
            <a:endParaRPr/>
          </a:p>
        </p:txBody>
      </p:sp>
      <p:sp>
        <p:nvSpPr>
          <p:cNvPr id="51" name="Google Shape;51;p10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pt-BR"/>
              <a:t>‹#›</a:t>
            </a:fld>
            <a:endParaRPr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 name="marina">
    <p:bg>
      <p:bgPr>
        <a:solidFill>
          <a:schemeClr val="lt1"/>
        </a:soli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Google Shape;6;p1"/>
          <p:cNvSpPr txBox="1">
            <a:spLocks noGrp="1"/>
          </p:cNvSpPr>
          <p:nvPr>
            <p:ph type="title"/>
          </p:nvPr>
        </p:nvSpPr>
        <p:spPr>
          <a:xfrm>
            <a:off x="387900" y="458025"/>
            <a:ext cx="8368200" cy="686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Roboto Slab"/>
              <a:buNone/>
              <a:defRPr sz="3000" b="0" i="0" u="none" strike="noStrike" cap="none">
                <a:solidFill>
                  <a:schemeClr val="dk1"/>
                </a:solidFill>
                <a:latin typeface="Roboto Slab"/>
                <a:ea typeface="Roboto Slab"/>
                <a:cs typeface="Roboto Slab"/>
                <a:sym typeface="Roboto Slab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Roboto Slab"/>
              <a:buNone/>
              <a:defRPr sz="3000" b="0" i="0" u="none" strike="noStrike" cap="none">
                <a:solidFill>
                  <a:schemeClr val="dk1"/>
                </a:solidFill>
                <a:latin typeface="Roboto Slab"/>
                <a:ea typeface="Roboto Slab"/>
                <a:cs typeface="Roboto Slab"/>
                <a:sym typeface="Roboto Slab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Roboto Slab"/>
              <a:buNone/>
              <a:defRPr sz="3000" b="0" i="0" u="none" strike="noStrike" cap="none">
                <a:solidFill>
                  <a:schemeClr val="dk1"/>
                </a:solidFill>
                <a:latin typeface="Roboto Slab"/>
                <a:ea typeface="Roboto Slab"/>
                <a:cs typeface="Roboto Slab"/>
                <a:sym typeface="Roboto Slab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Roboto Slab"/>
              <a:buNone/>
              <a:defRPr sz="3000" b="0" i="0" u="none" strike="noStrike" cap="none">
                <a:solidFill>
                  <a:schemeClr val="dk1"/>
                </a:solidFill>
                <a:latin typeface="Roboto Slab"/>
                <a:ea typeface="Roboto Slab"/>
                <a:cs typeface="Roboto Slab"/>
                <a:sym typeface="Roboto Slab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Roboto Slab"/>
              <a:buNone/>
              <a:defRPr sz="3000" b="0" i="0" u="none" strike="noStrike" cap="none">
                <a:solidFill>
                  <a:schemeClr val="dk1"/>
                </a:solidFill>
                <a:latin typeface="Roboto Slab"/>
                <a:ea typeface="Roboto Slab"/>
                <a:cs typeface="Roboto Slab"/>
                <a:sym typeface="Roboto Slab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Roboto Slab"/>
              <a:buNone/>
              <a:defRPr sz="3000" b="0" i="0" u="none" strike="noStrike" cap="none">
                <a:solidFill>
                  <a:schemeClr val="dk1"/>
                </a:solidFill>
                <a:latin typeface="Roboto Slab"/>
                <a:ea typeface="Roboto Slab"/>
                <a:cs typeface="Roboto Slab"/>
                <a:sym typeface="Roboto Slab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Roboto Slab"/>
              <a:buNone/>
              <a:defRPr sz="3000" b="0" i="0" u="none" strike="noStrike" cap="none">
                <a:solidFill>
                  <a:schemeClr val="dk1"/>
                </a:solidFill>
                <a:latin typeface="Roboto Slab"/>
                <a:ea typeface="Roboto Slab"/>
                <a:cs typeface="Roboto Slab"/>
                <a:sym typeface="Roboto Slab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Roboto Slab"/>
              <a:buNone/>
              <a:defRPr sz="3000" b="0" i="0" u="none" strike="noStrike" cap="none">
                <a:solidFill>
                  <a:schemeClr val="dk1"/>
                </a:solidFill>
                <a:latin typeface="Roboto Slab"/>
                <a:ea typeface="Roboto Slab"/>
                <a:cs typeface="Roboto Slab"/>
                <a:sym typeface="Roboto Slab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Roboto Slab"/>
              <a:buNone/>
              <a:defRPr sz="3000" b="0" i="0" u="none" strike="noStrike" cap="none">
                <a:solidFill>
                  <a:schemeClr val="dk1"/>
                </a:solidFill>
                <a:latin typeface="Roboto Slab"/>
                <a:ea typeface="Roboto Slab"/>
                <a:cs typeface="Roboto Slab"/>
                <a:sym typeface="Roboto Slab"/>
              </a:defRPr>
            </a:lvl9pPr>
          </a:lstStyle>
          <a:p>
            <a:endParaRPr/>
          </a:p>
        </p:txBody>
      </p:sp>
      <p:sp>
        <p:nvSpPr>
          <p:cNvPr id="7" name="Google Shape;7;p1"/>
          <p:cNvSpPr txBox="1">
            <a:spLocks noGrp="1"/>
          </p:cNvSpPr>
          <p:nvPr>
            <p:ph type="body" idx="1"/>
          </p:nvPr>
        </p:nvSpPr>
        <p:spPr>
          <a:xfrm>
            <a:off x="387900" y="1489824"/>
            <a:ext cx="8368200" cy="3078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marR="0" lvl="0" indent="-3429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Roboto"/>
              <a:buChar char="●"/>
              <a:defRPr sz="1800" b="0" i="0" u="none" strike="noStrike" cap="none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defRPr>
            </a:lvl1pPr>
            <a:lvl2pPr marL="914400" marR="0" lvl="1" indent="-3175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Roboto"/>
              <a:buChar char="○"/>
              <a:defRPr sz="1400" b="0" i="0" u="none" strike="noStrike" cap="none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defRPr>
            </a:lvl2pPr>
            <a:lvl3pPr marL="1371600" marR="0" lvl="2" indent="-3175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Roboto"/>
              <a:buChar char="■"/>
              <a:defRPr sz="1400" b="0" i="0" u="none" strike="noStrike" cap="none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defRPr>
            </a:lvl3pPr>
            <a:lvl4pPr marL="1828800" marR="0" lvl="3" indent="-3175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Roboto"/>
              <a:buChar char="●"/>
              <a:defRPr sz="1400" b="0" i="0" u="none" strike="noStrike" cap="none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defRPr>
            </a:lvl4pPr>
            <a:lvl5pPr marL="2286000" marR="0" lvl="4" indent="-3175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Roboto"/>
              <a:buChar char="○"/>
              <a:defRPr sz="1400" b="0" i="0" u="none" strike="noStrike" cap="none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defRPr>
            </a:lvl5pPr>
            <a:lvl6pPr marL="2743200" marR="0" lvl="5" indent="-3175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Roboto"/>
              <a:buChar char="■"/>
              <a:defRPr sz="1400" b="0" i="0" u="none" strike="noStrike" cap="none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defRPr>
            </a:lvl6pPr>
            <a:lvl7pPr marL="3200400" marR="0" lvl="6" indent="-3175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Roboto"/>
              <a:buChar char="●"/>
              <a:defRPr sz="1400" b="0" i="0" u="none" strike="noStrike" cap="none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defRPr>
            </a:lvl7pPr>
            <a:lvl8pPr marL="3657600" marR="0" lvl="7" indent="-3175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Roboto"/>
              <a:buChar char="○"/>
              <a:defRPr sz="1400" b="0" i="0" u="none" strike="noStrike" cap="none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defRPr>
            </a:lvl8pPr>
            <a:lvl9pPr marL="4114800" marR="0" lvl="8" indent="-317500" algn="l" rtl="0">
              <a:lnSpc>
                <a:spcPct val="115000"/>
              </a:lnSpc>
              <a:spcBef>
                <a:spcPts val="1600"/>
              </a:spcBef>
              <a:spcAft>
                <a:spcPts val="1600"/>
              </a:spcAft>
              <a:buClr>
                <a:schemeClr val="dk1"/>
              </a:buClr>
              <a:buSzPts val="1400"/>
              <a:buFont typeface="Roboto"/>
              <a:buChar char="■"/>
              <a:defRPr sz="1400" b="0" i="0" u="none" strike="noStrike" cap="none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defRPr>
            </a:lvl9pPr>
          </a:lstStyle>
          <a:p>
            <a:endParaRPr/>
          </a:p>
        </p:txBody>
      </p:sp>
      <p:sp>
        <p:nvSpPr>
          <p:cNvPr id="8" name="Google Shape;8;p1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pt-BR"/>
              <a:t>‹#›</a:t>
            </a:fld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48" r:id="rId1"/>
    <p:sldLayoutId id="2147483649" r:id="rId2"/>
    <p:sldLayoutId id="2147483650" r:id="rId3"/>
    <p:sldLayoutId id="2147483651" r:id="rId4"/>
    <p:sldLayoutId id="2147483652" r:id="rId5"/>
    <p:sldLayoutId id="2147483653" r:id="rId6"/>
    <p:sldLayoutId id="2147483654" r:id="rId7"/>
    <p:sldLayoutId id="2147483655" r:id="rId8"/>
    <p:sldLayoutId id="2147483656" r:id="rId9"/>
    <p:sldLayoutId id="2147483657" r:id="rId10"/>
    <p:sldLayoutId id="2147483658" r:id="rId11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.pn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.bin"/><Relationship Id="rId4" Type="http://schemas.openxmlformats.org/officeDocument/2006/relationships/notesSlide" Target="../notesSlides/notesSlide4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6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" name="Google Shape;63;p13"/>
          <p:cNvSpPr txBox="1">
            <a:spLocks noGrp="1"/>
          </p:cNvSpPr>
          <p:nvPr>
            <p:ph type="ctrTitle"/>
          </p:nvPr>
        </p:nvSpPr>
        <p:spPr>
          <a:xfrm>
            <a:off x="1680302" y="1188925"/>
            <a:ext cx="5783400" cy="1457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000"/>
              <a:buNone/>
            </a:pPr>
            <a:r>
              <a:rPr lang="pt-BR"/>
              <a:t>Kohler: processo produtivo de louças sanitárias</a:t>
            </a:r>
            <a:endParaRPr/>
          </a:p>
        </p:txBody>
      </p:sp>
      <p:sp>
        <p:nvSpPr>
          <p:cNvPr id="64" name="Google Shape;64;p13"/>
          <p:cNvSpPr txBox="1">
            <a:spLocks noGrp="1"/>
          </p:cNvSpPr>
          <p:nvPr>
            <p:ph type="subTitle" idx="1"/>
          </p:nvPr>
        </p:nvSpPr>
        <p:spPr>
          <a:xfrm>
            <a:off x="1680302" y="3049450"/>
            <a:ext cx="5783400" cy="909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</a:pPr>
            <a:r>
              <a:rPr lang="pt-BR"/>
              <a:t>Bruno Soiti K. Marino 8990768</a:t>
            </a:r>
            <a:endParaRPr/>
          </a:p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</a:pPr>
            <a:r>
              <a:rPr lang="pt-BR"/>
              <a:t>Caio Santo Siqueira 10410177</a:t>
            </a:r>
            <a:endParaRPr/>
          </a:p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</a:pPr>
            <a:r>
              <a:rPr lang="pt-BR"/>
              <a:t>Isabela Simões Dornelas 9839096 </a:t>
            </a:r>
            <a:endParaRPr/>
          </a:p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</a:pPr>
            <a:r>
              <a:rPr lang="pt-BR"/>
              <a:t>Victor Venancio 9922791</a:t>
            </a:r>
            <a:endParaRPr/>
          </a:p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</a:pPr>
            <a:endParaRPr/>
          </a:p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</a:pPr>
            <a:endParaRPr/>
          </a:p>
        </p:txBody>
      </p:sp>
      <p:sp>
        <p:nvSpPr>
          <p:cNvPr id="65" name="Google Shape;65;p13"/>
          <p:cNvSpPr txBox="1"/>
          <p:nvPr/>
        </p:nvSpPr>
        <p:spPr>
          <a:xfrm>
            <a:off x="1061850" y="133275"/>
            <a:ext cx="7020300" cy="354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r>
              <a:rPr lang="pt-BR" sz="1400" b="0" i="0" u="none" strike="noStrike" cap="none">
                <a:solidFill>
                  <a:schemeClr val="accent5"/>
                </a:solidFill>
                <a:latin typeface="Roboto Slab"/>
                <a:ea typeface="Roboto Slab"/>
                <a:cs typeface="Roboto Slab"/>
                <a:sym typeface="Roboto Slab"/>
              </a:rPr>
              <a:t>PHA3513: Sustentabilidade no setor produtivo</a:t>
            </a:r>
            <a:endParaRPr sz="1400" b="0" i="0" u="none" strike="noStrike" cap="none">
              <a:solidFill>
                <a:schemeClr val="accent5"/>
              </a:solidFill>
              <a:latin typeface="Roboto Slab"/>
              <a:ea typeface="Roboto Slab"/>
              <a:cs typeface="Roboto Slab"/>
              <a:sym typeface="Roboto Slab"/>
            </a:endParaRPr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6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0" name="Google Shape;70;p14"/>
          <p:cNvPicPr preferRelativeResize="0"/>
          <p:nvPr/>
        </p:nvPicPr>
        <p:blipFill rotWithShape="1">
          <a:blip r:embed="rId3">
            <a:alphaModFix/>
          </a:blip>
          <a:srcRect t="34755"/>
          <a:stretch/>
        </p:blipFill>
        <p:spPr>
          <a:xfrm>
            <a:off x="4746775" y="449650"/>
            <a:ext cx="4234275" cy="1120300"/>
          </a:xfrm>
          <a:prstGeom prst="rect">
            <a:avLst/>
          </a:prstGeom>
          <a:noFill/>
          <a:ln>
            <a:noFill/>
          </a:ln>
        </p:spPr>
      </p:pic>
      <p:pic>
        <p:nvPicPr>
          <p:cNvPr id="71" name="Google Shape;71;p14"/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4746775" y="1923075"/>
            <a:ext cx="4234275" cy="2381774"/>
          </a:xfrm>
          <a:prstGeom prst="rect">
            <a:avLst/>
          </a:prstGeom>
          <a:noFill/>
          <a:ln>
            <a:noFill/>
          </a:ln>
        </p:spPr>
      </p:pic>
      <p:sp>
        <p:nvSpPr>
          <p:cNvPr id="72" name="Google Shape;72;p14"/>
          <p:cNvSpPr txBox="1"/>
          <p:nvPr/>
        </p:nvSpPr>
        <p:spPr>
          <a:xfrm>
            <a:off x="640875" y="1824075"/>
            <a:ext cx="37959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457200" marR="0" lvl="0" indent="-3429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Roboto"/>
              <a:buChar char="-"/>
            </a:pPr>
            <a:r>
              <a:rPr lang="pt-BR" sz="1800" b="0" i="0" u="none" strike="noStrike" cap="none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rPr>
              <a:t>Empresa americana que está no Brasil desde 2014;</a:t>
            </a:r>
            <a:endParaRPr sz="1800" b="0" i="0" u="none" strike="noStrike" cap="none">
              <a:solidFill>
                <a:schemeClr val="dk1"/>
              </a:solidFill>
              <a:latin typeface="Roboto"/>
              <a:ea typeface="Roboto"/>
              <a:cs typeface="Roboto"/>
              <a:sym typeface="Roboto"/>
            </a:endParaRPr>
          </a:p>
          <a:p>
            <a:pPr marL="457200" marR="0" lvl="0" indent="-3429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Roboto"/>
              <a:buChar char="-"/>
            </a:pPr>
            <a:r>
              <a:rPr lang="pt-BR" sz="1800" b="0" i="0" u="none" strike="noStrike" cap="none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rPr>
              <a:t>Localizada em Andradas/MG;</a:t>
            </a:r>
            <a:endParaRPr sz="1800" b="0" i="0" u="none" strike="noStrike" cap="none">
              <a:solidFill>
                <a:schemeClr val="dk1"/>
              </a:solidFill>
              <a:latin typeface="Roboto"/>
              <a:ea typeface="Roboto"/>
              <a:cs typeface="Roboto"/>
              <a:sym typeface="Roboto"/>
            </a:endParaRPr>
          </a:p>
          <a:p>
            <a:pPr marL="457200" marR="0" lvl="0" indent="-3429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Roboto"/>
              <a:buChar char="-"/>
            </a:pPr>
            <a:r>
              <a:rPr lang="pt-BR" sz="1800" b="0" i="0" u="none" strike="noStrike" cap="none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rPr>
              <a:t>Produção de louças sanitárias;</a:t>
            </a:r>
            <a:endParaRPr sz="1800" b="0" i="0" u="none" strike="noStrike" cap="none">
              <a:solidFill>
                <a:schemeClr val="dk1"/>
              </a:solidFill>
              <a:latin typeface="Roboto"/>
              <a:ea typeface="Roboto"/>
              <a:cs typeface="Roboto"/>
              <a:sym typeface="Roboto"/>
            </a:endParaRPr>
          </a:p>
          <a:p>
            <a:pPr marL="457200" marR="0" lvl="0" indent="-3429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Roboto"/>
              <a:buChar char="-"/>
            </a:pPr>
            <a:r>
              <a:rPr lang="pt-BR" sz="1800" b="0" i="0" u="none" strike="noStrike" cap="none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rPr>
              <a:t>Capacidade: 15.600 toneladas de argila/ano</a:t>
            </a:r>
            <a:r>
              <a:rPr lang="pt-BR" sz="1800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rPr>
              <a:t>;</a:t>
            </a:r>
            <a:endParaRPr/>
          </a:p>
          <a:p>
            <a:pPr marL="457200" marR="0" lvl="0" indent="-3429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Roboto"/>
              <a:buChar char="-"/>
            </a:pPr>
            <a:r>
              <a:rPr lang="pt-BR" sz="1800" b="0" i="0" u="none" strike="noStrike" cap="none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rPr>
              <a:t>870 funcionários.</a:t>
            </a:r>
            <a:endParaRPr/>
          </a:p>
          <a:p>
            <a:pPr marL="457200" marR="0" lvl="0" indent="-2286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Roboto"/>
              <a:buNone/>
            </a:pPr>
            <a:endParaRPr sz="1800" b="0" i="0" u="none" strike="noStrike" cap="none">
              <a:solidFill>
                <a:schemeClr val="dk1"/>
              </a:solidFill>
              <a:latin typeface="Roboto"/>
              <a:ea typeface="Roboto"/>
              <a:cs typeface="Roboto"/>
              <a:sym typeface="Roboto"/>
            </a:endParaRPr>
          </a:p>
        </p:txBody>
      </p:sp>
      <p:sp>
        <p:nvSpPr>
          <p:cNvPr id="73" name="Google Shape;73;p14"/>
          <p:cNvSpPr txBox="1"/>
          <p:nvPr/>
        </p:nvSpPr>
        <p:spPr>
          <a:xfrm>
            <a:off x="640875" y="280425"/>
            <a:ext cx="3795900" cy="870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000"/>
              <a:buFont typeface="Arial"/>
              <a:buNone/>
            </a:pPr>
            <a:r>
              <a:rPr lang="pt-BR" sz="3000" b="0" i="0" u="none" strike="noStrike" cap="none">
                <a:solidFill>
                  <a:srgbClr val="FFFFFF"/>
                </a:solidFill>
                <a:latin typeface="Roboto Slab"/>
                <a:ea typeface="Roboto Slab"/>
                <a:cs typeface="Roboto Slab"/>
                <a:sym typeface="Roboto Slab"/>
              </a:rPr>
              <a:t>Kohler Produtos para Cozinhas e Banheiros LTDA</a:t>
            </a:r>
            <a:endParaRPr sz="3000" b="0" i="0" u="none" strike="noStrike" cap="none">
              <a:solidFill>
                <a:srgbClr val="FFFFFF"/>
              </a:solidFill>
              <a:latin typeface="Roboto Slab"/>
              <a:ea typeface="Roboto Slab"/>
              <a:cs typeface="Roboto Slab"/>
              <a:sym typeface="Roboto Slab"/>
            </a:endParaRPr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8" name="Google Shape;78;p15"/>
          <p:cNvSpPr txBox="1">
            <a:spLocks noGrp="1"/>
          </p:cNvSpPr>
          <p:nvPr>
            <p:ph type="title"/>
          </p:nvPr>
        </p:nvSpPr>
        <p:spPr>
          <a:xfrm>
            <a:off x="387900" y="458025"/>
            <a:ext cx="8368200" cy="686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000"/>
              <a:buNone/>
            </a:pPr>
            <a:r>
              <a:rPr lang="pt-BR"/>
              <a:t>Fluxograma do processo produtivo</a:t>
            </a:r>
            <a:endParaRPr/>
          </a:p>
        </p:txBody>
      </p:sp>
      <p:sp>
        <p:nvSpPr>
          <p:cNvPr id="79" name="Google Shape;79;p15"/>
          <p:cNvSpPr/>
          <p:nvPr/>
        </p:nvSpPr>
        <p:spPr>
          <a:xfrm>
            <a:off x="387898" y="1506857"/>
            <a:ext cx="1733107" cy="839972"/>
          </a:xfrm>
          <a:prstGeom prst="rect">
            <a:avLst/>
          </a:prstGeom>
          <a:solidFill>
            <a:schemeClr val="accent2"/>
          </a:solidFill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400" b="1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Matérias-primas minerais</a:t>
            </a:r>
            <a:endParaRPr dirty="0"/>
          </a:p>
        </p:txBody>
      </p:sp>
      <p:sp>
        <p:nvSpPr>
          <p:cNvPr id="80" name="Google Shape;80;p15"/>
          <p:cNvSpPr/>
          <p:nvPr/>
        </p:nvSpPr>
        <p:spPr>
          <a:xfrm>
            <a:off x="2671334" y="1506857"/>
            <a:ext cx="1733107" cy="839972"/>
          </a:xfrm>
          <a:prstGeom prst="rect">
            <a:avLst/>
          </a:prstGeom>
          <a:solidFill>
            <a:schemeClr val="accent2"/>
          </a:solidFill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4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Peneiramento e separação magnética</a:t>
            </a:r>
            <a:endParaRPr/>
          </a:p>
        </p:txBody>
      </p:sp>
      <p:sp>
        <p:nvSpPr>
          <p:cNvPr id="81" name="Google Shape;81;p15"/>
          <p:cNvSpPr/>
          <p:nvPr/>
        </p:nvSpPr>
        <p:spPr>
          <a:xfrm>
            <a:off x="4954770" y="1506857"/>
            <a:ext cx="1733107" cy="839972"/>
          </a:xfrm>
          <a:prstGeom prst="rect">
            <a:avLst/>
          </a:prstGeom>
          <a:solidFill>
            <a:schemeClr val="accent2"/>
          </a:solidFill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4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Moldagem com barbotina</a:t>
            </a:r>
            <a:endParaRPr/>
          </a:p>
        </p:txBody>
      </p:sp>
      <p:sp>
        <p:nvSpPr>
          <p:cNvPr id="82" name="Google Shape;82;p15"/>
          <p:cNvSpPr/>
          <p:nvPr/>
        </p:nvSpPr>
        <p:spPr>
          <a:xfrm>
            <a:off x="7238206" y="1506857"/>
            <a:ext cx="1733107" cy="839972"/>
          </a:xfrm>
          <a:prstGeom prst="rect">
            <a:avLst/>
          </a:prstGeom>
          <a:solidFill>
            <a:schemeClr val="accent2"/>
          </a:solidFill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4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Acabamento e secagem</a:t>
            </a:r>
            <a:endParaRPr/>
          </a:p>
        </p:txBody>
      </p:sp>
      <p:sp>
        <p:nvSpPr>
          <p:cNvPr id="83" name="Google Shape;83;p15"/>
          <p:cNvSpPr/>
          <p:nvPr/>
        </p:nvSpPr>
        <p:spPr>
          <a:xfrm>
            <a:off x="7238207" y="2858875"/>
            <a:ext cx="1733107" cy="839972"/>
          </a:xfrm>
          <a:prstGeom prst="rect">
            <a:avLst/>
          </a:prstGeom>
          <a:solidFill>
            <a:schemeClr val="accent2"/>
          </a:solidFill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4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Aplicação do esmalte</a:t>
            </a:r>
            <a:endParaRPr/>
          </a:p>
        </p:txBody>
      </p:sp>
      <p:sp>
        <p:nvSpPr>
          <p:cNvPr id="84" name="Google Shape;84;p15"/>
          <p:cNvSpPr/>
          <p:nvPr/>
        </p:nvSpPr>
        <p:spPr>
          <a:xfrm>
            <a:off x="4954770" y="2858875"/>
            <a:ext cx="1733107" cy="839972"/>
          </a:xfrm>
          <a:prstGeom prst="rect">
            <a:avLst/>
          </a:prstGeom>
          <a:solidFill>
            <a:schemeClr val="accent2"/>
          </a:solidFill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4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Queima</a:t>
            </a:r>
            <a:endParaRPr/>
          </a:p>
        </p:txBody>
      </p:sp>
      <p:sp>
        <p:nvSpPr>
          <p:cNvPr id="85" name="Google Shape;85;p15"/>
          <p:cNvSpPr/>
          <p:nvPr/>
        </p:nvSpPr>
        <p:spPr>
          <a:xfrm>
            <a:off x="2671335" y="2858875"/>
            <a:ext cx="1733107" cy="839972"/>
          </a:xfrm>
          <a:prstGeom prst="rect">
            <a:avLst/>
          </a:prstGeom>
          <a:solidFill>
            <a:schemeClr val="accent2"/>
          </a:solidFill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4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Avaliação das peças</a:t>
            </a:r>
            <a:endParaRPr/>
          </a:p>
        </p:txBody>
      </p:sp>
      <p:sp>
        <p:nvSpPr>
          <p:cNvPr id="86" name="Google Shape;86;p15"/>
          <p:cNvSpPr/>
          <p:nvPr/>
        </p:nvSpPr>
        <p:spPr>
          <a:xfrm>
            <a:off x="387898" y="2858875"/>
            <a:ext cx="1733107" cy="839972"/>
          </a:xfrm>
          <a:prstGeom prst="rect">
            <a:avLst/>
          </a:prstGeom>
          <a:solidFill>
            <a:schemeClr val="accent2"/>
          </a:solidFill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4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Produto final</a:t>
            </a:r>
            <a:endParaRPr/>
          </a:p>
        </p:txBody>
      </p:sp>
      <p:sp>
        <p:nvSpPr>
          <p:cNvPr id="87" name="Google Shape;87;p15"/>
          <p:cNvSpPr/>
          <p:nvPr/>
        </p:nvSpPr>
        <p:spPr>
          <a:xfrm>
            <a:off x="387898" y="3912267"/>
            <a:ext cx="1733107" cy="839972"/>
          </a:xfrm>
          <a:prstGeom prst="rect">
            <a:avLst/>
          </a:prstGeom>
          <a:solidFill>
            <a:schemeClr val="accent2"/>
          </a:solidFill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4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Retoque do esmalte e requeima</a:t>
            </a:r>
            <a:endParaRPr/>
          </a:p>
        </p:txBody>
      </p:sp>
      <p:sp>
        <p:nvSpPr>
          <p:cNvPr id="88" name="Google Shape;88;p15"/>
          <p:cNvSpPr/>
          <p:nvPr/>
        </p:nvSpPr>
        <p:spPr>
          <a:xfrm>
            <a:off x="2179674" y="1656171"/>
            <a:ext cx="470394" cy="541344"/>
          </a:xfrm>
          <a:prstGeom prst="rightArrow">
            <a:avLst>
              <a:gd name="adj1" fmla="val 50000"/>
              <a:gd name="adj2" fmla="val 50000"/>
            </a:avLst>
          </a:prstGeom>
          <a:solidFill>
            <a:srgbClr val="000000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9" name="Google Shape;89;p15"/>
          <p:cNvSpPr/>
          <p:nvPr/>
        </p:nvSpPr>
        <p:spPr>
          <a:xfrm>
            <a:off x="4444408" y="1656171"/>
            <a:ext cx="470394" cy="541344"/>
          </a:xfrm>
          <a:prstGeom prst="rightArrow">
            <a:avLst>
              <a:gd name="adj1" fmla="val 50000"/>
              <a:gd name="adj2" fmla="val 50000"/>
            </a:avLst>
          </a:prstGeom>
          <a:solidFill>
            <a:srgbClr val="000000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0" name="Google Shape;90;p15"/>
          <p:cNvSpPr/>
          <p:nvPr/>
        </p:nvSpPr>
        <p:spPr>
          <a:xfrm>
            <a:off x="6729129" y="1656171"/>
            <a:ext cx="470394" cy="541344"/>
          </a:xfrm>
          <a:prstGeom prst="rightArrow">
            <a:avLst>
              <a:gd name="adj1" fmla="val 50000"/>
              <a:gd name="adj2" fmla="val 50000"/>
            </a:avLst>
          </a:prstGeom>
          <a:solidFill>
            <a:srgbClr val="000000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1" name="Google Shape;91;p15"/>
          <p:cNvSpPr/>
          <p:nvPr/>
        </p:nvSpPr>
        <p:spPr>
          <a:xfrm rot="5400000">
            <a:off x="7869562" y="2332180"/>
            <a:ext cx="470394" cy="541344"/>
          </a:xfrm>
          <a:prstGeom prst="rightArrow">
            <a:avLst>
              <a:gd name="adj1" fmla="val 50000"/>
              <a:gd name="adj2" fmla="val 50000"/>
            </a:avLst>
          </a:prstGeom>
          <a:solidFill>
            <a:srgbClr val="000000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2" name="Google Shape;92;p15"/>
          <p:cNvSpPr/>
          <p:nvPr/>
        </p:nvSpPr>
        <p:spPr>
          <a:xfrm flipH="1">
            <a:off x="6729129" y="3008189"/>
            <a:ext cx="470394" cy="541344"/>
          </a:xfrm>
          <a:prstGeom prst="rightArrow">
            <a:avLst>
              <a:gd name="adj1" fmla="val 50000"/>
              <a:gd name="adj2" fmla="val 50000"/>
            </a:avLst>
          </a:prstGeom>
          <a:solidFill>
            <a:srgbClr val="000000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3" name="Google Shape;93;p15"/>
          <p:cNvSpPr/>
          <p:nvPr/>
        </p:nvSpPr>
        <p:spPr>
          <a:xfrm flipH="1">
            <a:off x="4443126" y="3008189"/>
            <a:ext cx="470394" cy="541344"/>
          </a:xfrm>
          <a:prstGeom prst="rightArrow">
            <a:avLst>
              <a:gd name="adj1" fmla="val 50000"/>
              <a:gd name="adj2" fmla="val 50000"/>
            </a:avLst>
          </a:prstGeom>
          <a:solidFill>
            <a:srgbClr val="000000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4" name="Google Shape;94;p15"/>
          <p:cNvSpPr/>
          <p:nvPr/>
        </p:nvSpPr>
        <p:spPr>
          <a:xfrm flipH="1">
            <a:off x="2163533" y="3008189"/>
            <a:ext cx="470394" cy="541344"/>
          </a:xfrm>
          <a:prstGeom prst="rightArrow">
            <a:avLst>
              <a:gd name="adj1" fmla="val 50000"/>
              <a:gd name="adj2" fmla="val 50000"/>
            </a:avLst>
          </a:prstGeom>
          <a:solidFill>
            <a:srgbClr val="000000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5" name="Google Shape;95;p15"/>
          <p:cNvSpPr/>
          <p:nvPr/>
        </p:nvSpPr>
        <p:spPr>
          <a:xfrm rot="10800000">
            <a:off x="2179674" y="3761723"/>
            <a:ext cx="1435396" cy="945783"/>
          </a:xfrm>
          <a:prstGeom prst="bentArrow">
            <a:avLst>
              <a:gd name="adj1" fmla="val 25000"/>
              <a:gd name="adj2" fmla="val 25096"/>
              <a:gd name="adj3" fmla="val 25000"/>
              <a:gd name="adj4" fmla="val 43750"/>
            </a:avLst>
          </a:prstGeom>
          <a:solidFill>
            <a:srgbClr val="000000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6" name="Google Shape;96;p15"/>
          <p:cNvSpPr txBox="1"/>
          <p:nvPr/>
        </p:nvSpPr>
        <p:spPr>
          <a:xfrm>
            <a:off x="2146898" y="2684160"/>
            <a:ext cx="522900" cy="307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4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Boa</a:t>
            </a:r>
            <a:endParaRPr/>
          </a:p>
        </p:txBody>
      </p:sp>
      <p:sp>
        <p:nvSpPr>
          <p:cNvPr id="97" name="Google Shape;97;p15"/>
          <p:cNvSpPr txBox="1"/>
          <p:nvPr/>
        </p:nvSpPr>
        <p:spPr>
          <a:xfrm flipH="1">
            <a:off x="2121005" y="3926837"/>
            <a:ext cx="1318659" cy="307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4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om defeitos </a:t>
            </a:r>
            <a:endParaRPr/>
          </a:p>
        </p:txBody>
      </p: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0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8" name="Google Shape;108;p17"/>
          <p:cNvSpPr txBox="1">
            <a:spLocks noGrp="1"/>
          </p:cNvSpPr>
          <p:nvPr>
            <p:ph type="title"/>
          </p:nvPr>
        </p:nvSpPr>
        <p:spPr>
          <a:xfrm>
            <a:off x="387900" y="458025"/>
            <a:ext cx="8368200" cy="686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000"/>
              <a:buNone/>
            </a:pPr>
            <a:r>
              <a:rPr lang="pt-BR"/>
              <a:t>Etapas potenciais do processo produtivo para aprimoramento</a:t>
            </a:r>
            <a:endParaRPr/>
          </a:p>
        </p:txBody>
      </p:sp>
      <p:sp>
        <p:nvSpPr>
          <p:cNvPr id="109" name="Google Shape;109;p17"/>
          <p:cNvSpPr txBox="1">
            <a:spLocks noGrp="1"/>
          </p:cNvSpPr>
          <p:nvPr>
            <p:ph type="body" idx="1"/>
          </p:nvPr>
        </p:nvSpPr>
        <p:spPr>
          <a:xfrm>
            <a:off x="387900" y="1743752"/>
            <a:ext cx="8622600" cy="3078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457200" lvl="0" indent="-32385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500"/>
              <a:buChar char="-"/>
            </a:pPr>
            <a:r>
              <a:rPr lang="pt-BR" sz="1500" dirty="0"/>
              <a:t>Emissão de gases na etapa de queima</a:t>
            </a:r>
            <a:endParaRPr sz="1500" dirty="0"/>
          </a:p>
          <a:p>
            <a:pPr marL="457200" lvl="0" indent="-32385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500"/>
              <a:buChar char="-"/>
            </a:pPr>
            <a:r>
              <a:rPr lang="pt-BR" sz="1500" dirty="0"/>
              <a:t>Uso de água</a:t>
            </a:r>
            <a:endParaRPr sz="1500" dirty="0"/>
          </a:p>
          <a:p>
            <a:pPr marL="457200" lvl="0" indent="-32385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500"/>
              <a:buChar char="-"/>
            </a:pPr>
            <a:r>
              <a:rPr lang="pt-BR" sz="1500" dirty="0"/>
              <a:t>Destinação de resíduos para aterro</a:t>
            </a:r>
            <a:endParaRPr sz="1500" dirty="0"/>
          </a:p>
          <a:p>
            <a:pPr marL="457200" lvl="0" indent="-32385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500"/>
              <a:buChar char="-"/>
            </a:pPr>
            <a:r>
              <a:rPr lang="pt-BR" sz="1500" dirty="0"/>
              <a:t>Matriz energética de fontes renováveis</a:t>
            </a:r>
            <a:endParaRPr sz="1500" dirty="0"/>
          </a:p>
          <a:p>
            <a:pPr marL="457200" lvl="0" indent="-32385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500"/>
              <a:buChar char="-"/>
            </a:pPr>
            <a:r>
              <a:rPr lang="pt-BR" sz="1500" dirty="0"/>
              <a:t>Consumo energético</a:t>
            </a:r>
            <a:endParaRPr sz="1500" dirty="0"/>
          </a:p>
          <a:p>
            <a:pPr marL="457200" lvl="0" indent="-32385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500"/>
              <a:buChar char="-"/>
            </a:pPr>
            <a:r>
              <a:rPr lang="pt-BR" sz="1500" dirty="0"/>
              <a:t>Critérios socioambientais no desenvolvimento de novos projetos</a:t>
            </a:r>
            <a:endParaRPr sz="1500" dirty="0"/>
          </a:p>
          <a:p>
            <a:pPr marL="457200" lvl="0" indent="-32385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500"/>
              <a:buChar char="-"/>
            </a:pPr>
            <a:r>
              <a:rPr lang="pt-BR" sz="1500" dirty="0" err="1"/>
              <a:t>ACV</a:t>
            </a:r>
            <a:r>
              <a:rPr lang="pt-BR" sz="1500" dirty="0"/>
              <a:t> (Análise de Ciclo de Vida) do produto</a:t>
            </a:r>
            <a:endParaRPr sz="1500" dirty="0"/>
          </a:p>
          <a:p>
            <a:pPr marL="457200" lvl="0" indent="-32385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500"/>
              <a:buChar char="-"/>
            </a:pPr>
            <a:r>
              <a:rPr lang="pt-BR" sz="1500" dirty="0"/>
              <a:t>Implementação de programa </a:t>
            </a:r>
            <a:r>
              <a:rPr lang="pt-BR" sz="1500" dirty="0" smtClean="0"/>
              <a:t>socioambiental</a:t>
            </a:r>
          </a:p>
          <a:p>
            <a:pPr marL="457200" lvl="0" indent="-32385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500"/>
              <a:buChar char="-"/>
            </a:pPr>
            <a:r>
              <a:rPr lang="pt-BR" sz="1500" dirty="0" smtClean="0"/>
              <a:t>Projeto de produtos com menor consumo</a:t>
            </a:r>
          </a:p>
          <a:p>
            <a:pPr marL="457200" lvl="0" indent="-32385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500"/>
              <a:buChar char="-"/>
            </a:pPr>
            <a:r>
              <a:rPr lang="pt-BR" sz="1500" dirty="0" smtClean="0"/>
              <a:t>Utilizar britadora em cerâmicas defeituosas</a:t>
            </a:r>
            <a:endParaRPr sz="1500" dirty="0"/>
          </a:p>
        </p:txBody>
      </p:sp>
      <p:grpSp>
        <p:nvGrpSpPr>
          <p:cNvPr id="3" name="Group 2"/>
          <p:cNvGrpSpPr/>
          <p:nvPr/>
        </p:nvGrpSpPr>
        <p:grpSpPr>
          <a:xfrm>
            <a:off x="6908164" y="921537"/>
            <a:ext cx="1946666" cy="1556994"/>
            <a:chOff x="1106583" y="1615155"/>
            <a:chExt cx="1946666" cy="1556994"/>
          </a:xfrm>
        </p:grpSpPr>
        <p:grpSp>
          <p:nvGrpSpPr>
            <p:cNvPr id="4" name="Group 3"/>
            <p:cNvGrpSpPr>
              <a:grpSpLocks noChangeAspect="1"/>
            </p:cNvGrpSpPr>
            <p:nvPr/>
          </p:nvGrpSpPr>
          <p:grpSpPr>
            <a:xfrm>
              <a:off x="1106583" y="1615155"/>
              <a:ext cx="1387236" cy="1387236"/>
              <a:chOff x="5867400" y="3200400"/>
              <a:chExt cx="457200" cy="457200"/>
            </a:xfrm>
          </p:grpSpPr>
          <p:sp>
            <p:nvSpPr>
              <p:cNvPr id="5" name="AutoShape 55"/>
              <p:cNvSpPr>
                <a:spLocks noChangeAspect="1" noChangeArrowheads="1" noTextEdit="1"/>
              </p:cNvSpPr>
              <p:nvPr/>
            </p:nvSpPr>
            <p:spPr bwMode="auto">
              <a:xfrm>
                <a:off x="5867400" y="3200400"/>
                <a:ext cx="457200" cy="45720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6" name="Freeform 58"/>
              <p:cNvSpPr>
                <a:spLocks/>
              </p:cNvSpPr>
              <p:nvPr/>
            </p:nvSpPr>
            <p:spPr bwMode="auto">
              <a:xfrm>
                <a:off x="5959410" y="3342839"/>
                <a:ext cx="336705" cy="214749"/>
              </a:xfrm>
              <a:custGeom>
                <a:avLst/>
                <a:gdLst>
                  <a:gd name="T0" fmla="*/ 782 w 880"/>
                  <a:gd name="T1" fmla="*/ 297 h 562"/>
                  <a:gd name="T2" fmla="*/ 565 w 880"/>
                  <a:gd name="T3" fmla="*/ 297 h 562"/>
                  <a:gd name="T4" fmla="*/ 565 w 880"/>
                  <a:gd name="T5" fmla="*/ 248 h 562"/>
                  <a:gd name="T6" fmla="*/ 554 w 880"/>
                  <a:gd name="T7" fmla="*/ 237 h 562"/>
                  <a:gd name="T8" fmla="*/ 476 w 880"/>
                  <a:gd name="T9" fmla="*/ 237 h 562"/>
                  <a:gd name="T10" fmla="*/ 476 w 880"/>
                  <a:gd name="T11" fmla="*/ 159 h 562"/>
                  <a:gd name="T12" fmla="*/ 464 w 880"/>
                  <a:gd name="T13" fmla="*/ 148 h 562"/>
                  <a:gd name="T14" fmla="*/ 443 w 880"/>
                  <a:gd name="T15" fmla="*/ 148 h 562"/>
                  <a:gd name="T16" fmla="*/ 443 w 880"/>
                  <a:gd name="T17" fmla="*/ 103 h 562"/>
                  <a:gd name="T18" fmla="*/ 464 w 880"/>
                  <a:gd name="T19" fmla="*/ 103 h 562"/>
                  <a:gd name="T20" fmla="*/ 476 w 880"/>
                  <a:gd name="T21" fmla="*/ 92 h 562"/>
                  <a:gd name="T22" fmla="*/ 476 w 880"/>
                  <a:gd name="T23" fmla="*/ 70 h 562"/>
                  <a:gd name="T24" fmla="*/ 521 w 880"/>
                  <a:gd name="T25" fmla="*/ 70 h 562"/>
                  <a:gd name="T26" fmla="*/ 579 w 880"/>
                  <a:gd name="T27" fmla="*/ 118 h 562"/>
                  <a:gd name="T28" fmla="*/ 638 w 880"/>
                  <a:gd name="T29" fmla="*/ 59 h 562"/>
                  <a:gd name="T30" fmla="*/ 579 w 880"/>
                  <a:gd name="T31" fmla="*/ 0 h 562"/>
                  <a:gd name="T32" fmla="*/ 521 w 880"/>
                  <a:gd name="T33" fmla="*/ 47 h 562"/>
                  <a:gd name="T34" fmla="*/ 476 w 880"/>
                  <a:gd name="T35" fmla="*/ 47 h 562"/>
                  <a:gd name="T36" fmla="*/ 476 w 880"/>
                  <a:gd name="T37" fmla="*/ 26 h 562"/>
                  <a:gd name="T38" fmla="*/ 464 w 880"/>
                  <a:gd name="T39" fmla="*/ 14 h 562"/>
                  <a:gd name="T40" fmla="*/ 398 w 880"/>
                  <a:gd name="T41" fmla="*/ 14 h 562"/>
                  <a:gd name="T42" fmla="*/ 386 w 880"/>
                  <a:gd name="T43" fmla="*/ 26 h 562"/>
                  <a:gd name="T44" fmla="*/ 386 w 880"/>
                  <a:gd name="T45" fmla="*/ 47 h 562"/>
                  <a:gd name="T46" fmla="*/ 341 w 880"/>
                  <a:gd name="T47" fmla="*/ 47 h 562"/>
                  <a:gd name="T48" fmla="*/ 282 w 880"/>
                  <a:gd name="T49" fmla="*/ 0 h 562"/>
                  <a:gd name="T50" fmla="*/ 223 w 880"/>
                  <a:gd name="T51" fmla="*/ 59 h 562"/>
                  <a:gd name="T52" fmla="*/ 282 w 880"/>
                  <a:gd name="T53" fmla="*/ 118 h 562"/>
                  <a:gd name="T54" fmla="*/ 341 w 880"/>
                  <a:gd name="T55" fmla="*/ 70 h 562"/>
                  <a:gd name="T56" fmla="*/ 386 w 880"/>
                  <a:gd name="T57" fmla="*/ 70 h 562"/>
                  <a:gd name="T58" fmla="*/ 386 w 880"/>
                  <a:gd name="T59" fmla="*/ 92 h 562"/>
                  <a:gd name="T60" fmla="*/ 398 w 880"/>
                  <a:gd name="T61" fmla="*/ 103 h 562"/>
                  <a:gd name="T62" fmla="*/ 420 w 880"/>
                  <a:gd name="T63" fmla="*/ 103 h 562"/>
                  <a:gd name="T64" fmla="*/ 420 w 880"/>
                  <a:gd name="T65" fmla="*/ 148 h 562"/>
                  <a:gd name="T66" fmla="*/ 398 w 880"/>
                  <a:gd name="T67" fmla="*/ 148 h 562"/>
                  <a:gd name="T68" fmla="*/ 386 w 880"/>
                  <a:gd name="T69" fmla="*/ 159 h 562"/>
                  <a:gd name="T70" fmla="*/ 386 w 880"/>
                  <a:gd name="T71" fmla="*/ 237 h 562"/>
                  <a:gd name="T72" fmla="*/ 308 w 880"/>
                  <a:gd name="T73" fmla="*/ 237 h 562"/>
                  <a:gd name="T74" fmla="*/ 297 w 880"/>
                  <a:gd name="T75" fmla="*/ 248 h 562"/>
                  <a:gd name="T76" fmla="*/ 297 w 880"/>
                  <a:gd name="T77" fmla="*/ 297 h 562"/>
                  <a:gd name="T78" fmla="*/ 134 w 880"/>
                  <a:gd name="T79" fmla="*/ 297 h 562"/>
                  <a:gd name="T80" fmla="*/ 134 w 880"/>
                  <a:gd name="T81" fmla="*/ 204 h 562"/>
                  <a:gd name="T82" fmla="*/ 122 w 880"/>
                  <a:gd name="T83" fmla="*/ 193 h 562"/>
                  <a:gd name="T84" fmla="*/ 11 w 880"/>
                  <a:gd name="T85" fmla="*/ 193 h 562"/>
                  <a:gd name="T86" fmla="*/ 0 w 880"/>
                  <a:gd name="T87" fmla="*/ 204 h 562"/>
                  <a:gd name="T88" fmla="*/ 0 w 880"/>
                  <a:gd name="T89" fmla="*/ 540 h 562"/>
                  <a:gd name="T90" fmla="*/ 11 w 880"/>
                  <a:gd name="T91" fmla="*/ 552 h 562"/>
                  <a:gd name="T92" fmla="*/ 122 w 880"/>
                  <a:gd name="T93" fmla="*/ 552 h 562"/>
                  <a:gd name="T94" fmla="*/ 134 w 880"/>
                  <a:gd name="T95" fmla="*/ 540 h 562"/>
                  <a:gd name="T96" fmla="*/ 134 w 880"/>
                  <a:gd name="T97" fmla="*/ 449 h 562"/>
                  <a:gd name="T98" fmla="*/ 297 w 880"/>
                  <a:gd name="T99" fmla="*/ 449 h 562"/>
                  <a:gd name="T100" fmla="*/ 297 w 880"/>
                  <a:gd name="T101" fmla="*/ 494 h 562"/>
                  <a:gd name="T102" fmla="*/ 308 w 880"/>
                  <a:gd name="T103" fmla="*/ 505 h 562"/>
                  <a:gd name="T104" fmla="*/ 554 w 880"/>
                  <a:gd name="T105" fmla="*/ 505 h 562"/>
                  <a:gd name="T106" fmla="*/ 565 w 880"/>
                  <a:gd name="T107" fmla="*/ 494 h 562"/>
                  <a:gd name="T108" fmla="*/ 565 w 880"/>
                  <a:gd name="T109" fmla="*/ 449 h 562"/>
                  <a:gd name="T110" fmla="*/ 724 w 880"/>
                  <a:gd name="T111" fmla="*/ 449 h 562"/>
                  <a:gd name="T112" fmla="*/ 725 w 880"/>
                  <a:gd name="T113" fmla="*/ 450 h 562"/>
                  <a:gd name="T114" fmla="*/ 725 w 880"/>
                  <a:gd name="T115" fmla="*/ 538 h 562"/>
                  <a:gd name="T116" fmla="*/ 750 w 880"/>
                  <a:gd name="T117" fmla="*/ 562 h 562"/>
                  <a:gd name="T118" fmla="*/ 856 w 880"/>
                  <a:gd name="T119" fmla="*/ 562 h 562"/>
                  <a:gd name="T120" fmla="*/ 880 w 880"/>
                  <a:gd name="T121" fmla="*/ 538 h 562"/>
                  <a:gd name="T122" fmla="*/ 880 w 880"/>
                  <a:gd name="T123" fmla="*/ 394 h 562"/>
                  <a:gd name="T124" fmla="*/ 782 w 880"/>
                  <a:gd name="T125" fmla="*/ 297 h 5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880" h="562">
                    <a:moveTo>
                      <a:pt x="782" y="297"/>
                    </a:moveTo>
                    <a:cubicBezTo>
                      <a:pt x="782" y="297"/>
                      <a:pt x="752" y="297"/>
                      <a:pt x="565" y="297"/>
                    </a:cubicBezTo>
                    <a:cubicBezTo>
                      <a:pt x="565" y="249"/>
                      <a:pt x="565" y="248"/>
                      <a:pt x="565" y="248"/>
                    </a:cubicBezTo>
                    <a:cubicBezTo>
                      <a:pt x="565" y="242"/>
                      <a:pt x="560" y="237"/>
                      <a:pt x="554" y="237"/>
                    </a:cubicBezTo>
                    <a:cubicBezTo>
                      <a:pt x="524" y="237"/>
                      <a:pt x="499" y="237"/>
                      <a:pt x="476" y="237"/>
                    </a:cubicBezTo>
                    <a:cubicBezTo>
                      <a:pt x="476" y="190"/>
                      <a:pt x="476" y="159"/>
                      <a:pt x="476" y="159"/>
                    </a:cubicBezTo>
                    <a:cubicBezTo>
                      <a:pt x="476" y="153"/>
                      <a:pt x="471" y="148"/>
                      <a:pt x="464" y="148"/>
                    </a:cubicBezTo>
                    <a:cubicBezTo>
                      <a:pt x="456" y="148"/>
                      <a:pt x="449" y="148"/>
                      <a:pt x="443" y="148"/>
                    </a:cubicBezTo>
                    <a:cubicBezTo>
                      <a:pt x="443" y="128"/>
                      <a:pt x="443" y="109"/>
                      <a:pt x="443" y="103"/>
                    </a:cubicBezTo>
                    <a:cubicBezTo>
                      <a:pt x="464" y="103"/>
                      <a:pt x="464" y="103"/>
                      <a:pt x="464" y="103"/>
                    </a:cubicBezTo>
                    <a:cubicBezTo>
                      <a:pt x="471" y="103"/>
                      <a:pt x="476" y="98"/>
                      <a:pt x="476" y="92"/>
                    </a:cubicBezTo>
                    <a:cubicBezTo>
                      <a:pt x="476" y="84"/>
                      <a:pt x="476" y="76"/>
                      <a:pt x="476" y="70"/>
                    </a:cubicBezTo>
                    <a:cubicBezTo>
                      <a:pt x="521" y="70"/>
                      <a:pt x="521" y="70"/>
                      <a:pt x="521" y="70"/>
                    </a:cubicBezTo>
                    <a:cubicBezTo>
                      <a:pt x="527" y="97"/>
                      <a:pt x="551" y="118"/>
                      <a:pt x="579" y="118"/>
                    </a:cubicBezTo>
                    <a:cubicBezTo>
                      <a:pt x="612" y="118"/>
                      <a:pt x="638" y="91"/>
                      <a:pt x="638" y="59"/>
                    </a:cubicBezTo>
                    <a:cubicBezTo>
                      <a:pt x="638" y="26"/>
                      <a:pt x="612" y="0"/>
                      <a:pt x="579" y="0"/>
                    </a:cubicBezTo>
                    <a:cubicBezTo>
                      <a:pt x="551" y="0"/>
                      <a:pt x="527" y="20"/>
                      <a:pt x="521" y="47"/>
                    </a:cubicBezTo>
                    <a:cubicBezTo>
                      <a:pt x="476" y="47"/>
                      <a:pt x="476" y="47"/>
                      <a:pt x="476" y="47"/>
                    </a:cubicBezTo>
                    <a:cubicBezTo>
                      <a:pt x="476" y="26"/>
                      <a:pt x="476" y="26"/>
                      <a:pt x="476" y="26"/>
                    </a:cubicBezTo>
                    <a:cubicBezTo>
                      <a:pt x="476" y="19"/>
                      <a:pt x="471" y="14"/>
                      <a:pt x="464" y="14"/>
                    </a:cubicBezTo>
                    <a:cubicBezTo>
                      <a:pt x="398" y="14"/>
                      <a:pt x="398" y="14"/>
                      <a:pt x="398" y="14"/>
                    </a:cubicBezTo>
                    <a:cubicBezTo>
                      <a:pt x="391" y="14"/>
                      <a:pt x="386" y="19"/>
                      <a:pt x="386" y="26"/>
                    </a:cubicBezTo>
                    <a:cubicBezTo>
                      <a:pt x="386" y="34"/>
                      <a:pt x="386" y="41"/>
                      <a:pt x="386" y="47"/>
                    </a:cubicBezTo>
                    <a:cubicBezTo>
                      <a:pt x="341" y="47"/>
                      <a:pt x="341" y="47"/>
                      <a:pt x="341" y="47"/>
                    </a:cubicBezTo>
                    <a:cubicBezTo>
                      <a:pt x="335" y="20"/>
                      <a:pt x="311" y="0"/>
                      <a:pt x="282" y="0"/>
                    </a:cubicBezTo>
                    <a:cubicBezTo>
                      <a:pt x="250" y="0"/>
                      <a:pt x="223" y="26"/>
                      <a:pt x="223" y="59"/>
                    </a:cubicBezTo>
                    <a:cubicBezTo>
                      <a:pt x="223" y="91"/>
                      <a:pt x="250" y="118"/>
                      <a:pt x="282" y="118"/>
                    </a:cubicBezTo>
                    <a:cubicBezTo>
                      <a:pt x="311" y="118"/>
                      <a:pt x="335" y="97"/>
                      <a:pt x="341" y="70"/>
                    </a:cubicBezTo>
                    <a:cubicBezTo>
                      <a:pt x="361" y="70"/>
                      <a:pt x="375" y="70"/>
                      <a:pt x="386" y="70"/>
                    </a:cubicBezTo>
                    <a:cubicBezTo>
                      <a:pt x="386" y="92"/>
                      <a:pt x="386" y="92"/>
                      <a:pt x="386" y="92"/>
                    </a:cubicBezTo>
                    <a:cubicBezTo>
                      <a:pt x="386" y="98"/>
                      <a:pt x="391" y="103"/>
                      <a:pt x="398" y="103"/>
                    </a:cubicBezTo>
                    <a:cubicBezTo>
                      <a:pt x="406" y="103"/>
                      <a:pt x="414" y="103"/>
                      <a:pt x="420" y="103"/>
                    </a:cubicBezTo>
                    <a:cubicBezTo>
                      <a:pt x="420" y="125"/>
                      <a:pt x="420" y="139"/>
                      <a:pt x="420" y="148"/>
                    </a:cubicBezTo>
                    <a:cubicBezTo>
                      <a:pt x="398" y="148"/>
                      <a:pt x="398" y="148"/>
                      <a:pt x="398" y="148"/>
                    </a:cubicBezTo>
                    <a:cubicBezTo>
                      <a:pt x="391" y="148"/>
                      <a:pt x="386" y="153"/>
                      <a:pt x="386" y="159"/>
                    </a:cubicBezTo>
                    <a:cubicBezTo>
                      <a:pt x="386" y="193"/>
                      <a:pt x="386" y="221"/>
                      <a:pt x="386" y="237"/>
                    </a:cubicBezTo>
                    <a:cubicBezTo>
                      <a:pt x="308" y="237"/>
                      <a:pt x="308" y="237"/>
                      <a:pt x="308" y="237"/>
                    </a:cubicBezTo>
                    <a:cubicBezTo>
                      <a:pt x="302" y="237"/>
                      <a:pt x="297" y="242"/>
                      <a:pt x="297" y="248"/>
                    </a:cubicBezTo>
                    <a:cubicBezTo>
                      <a:pt x="297" y="266"/>
                      <a:pt x="297" y="282"/>
                      <a:pt x="297" y="297"/>
                    </a:cubicBezTo>
                    <a:cubicBezTo>
                      <a:pt x="272" y="297"/>
                      <a:pt x="225" y="297"/>
                      <a:pt x="134" y="297"/>
                    </a:cubicBezTo>
                    <a:cubicBezTo>
                      <a:pt x="134" y="269"/>
                      <a:pt x="134" y="238"/>
                      <a:pt x="134" y="204"/>
                    </a:cubicBezTo>
                    <a:cubicBezTo>
                      <a:pt x="134" y="198"/>
                      <a:pt x="129" y="193"/>
                      <a:pt x="122" y="193"/>
                    </a:cubicBezTo>
                    <a:cubicBezTo>
                      <a:pt x="122" y="193"/>
                      <a:pt x="122" y="193"/>
                      <a:pt x="11" y="193"/>
                    </a:cubicBezTo>
                    <a:cubicBezTo>
                      <a:pt x="5" y="193"/>
                      <a:pt x="0" y="198"/>
                      <a:pt x="0" y="204"/>
                    </a:cubicBezTo>
                    <a:cubicBezTo>
                      <a:pt x="0" y="204"/>
                      <a:pt x="0" y="204"/>
                      <a:pt x="0" y="540"/>
                    </a:cubicBezTo>
                    <a:cubicBezTo>
                      <a:pt x="0" y="546"/>
                      <a:pt x="5" y="552"/>
                      <a:pt x="11" y="552"/>
                    </a:cubicBezTo>
                    <a:cubicBezTo>
                      <a:pt x="11" y="552"/>
                      <a:pt x="11" y="552"/>
                      <a:pt x="122" y="552"/>
                    </a:cubicBezTo>
                    <a:cubicBezTo>
                      <a:pt x="129" y="552"/>
                      <a:pt x="134" y="546"/>
                      <a:pt x="134" y="540"/>
                    </a:cubicBezTo>
                    <a:cubicBezTo>
                      <a:pt x="134" y="540"/>
                      <a:pt x="134" y="540"/>
                      <a:pt x="134" y="449"/>
                    </a:cubicBezTo>
                    <a:cubicBezTo>
                      <a:pt x="297" y="449"/>
                      <a:pt x="297" y="449"/>
                      <a:pt x="297" y="449"/>
                    </a:cubicBezTo>
                    <a:cubicBezTo>
                      <a:pt x="297" y="494"/>
                      <a:pt x="297" y="494"/>
                      <a:pt x="297" y="494"/>
                    </a:cubicBezTo>
                    <a:cubicBezTo>
                      <a:pt x="297" y="500"/>
                      <a:pt x="302" y="505"/>
                      <a:pt x="308" y="505"/>
                    </a:cubicBezTo>
                    <a:cubicBezTo>
                      <a:pt x="554" y="505"/>
                      <a:pt x="554" y="505"/>
                      <a:pt x="554" y="505"/>
                    </a:cubicBezTo>
                    <a:cubicBezTo>
                      <a:pt x="560" y="505"/>
                      <a:pt x="565" y="500"/>
                      <a:pt x="565" y="494"/>
                    </a:cubicBezTo>
                    <a:cubicBezTo>
                      <a:pt x="565" y="478"/>
                      <a:pt x="565" y="463"/>
                      <a:pt x="565" y="449"/>
                    </a:cubicBezTo>
                    <a:cubicBezTo>
                      <a:pt x="581" y="449"/>
                      <a:pt x="624" y="449"/>
                      <a:pt x="724" y="449"/>
                    </a:cubicBezTo>
                    <a:cubicBezTo>
                      <a:pt x="725" y="449"/>
                      <a:pt x="725" y="450"/>
                      <a:pt x="725" y="450"/>
                    </a:cubicBezTo>
                    <a:cubicBezTo>
                      <a:pt x="725" y="450"/>
                      <a:pt x="725" y="450"/>
                      <a:pt x="725" y="538"/>
                    </a:cubicBezTo>
                    <a:cubicBezTo>
                      <a:pt x="725" y="552"/>
                      <a:pt x="736" y="562"/>
                      <a:pt x="750" y="562"/>
                    </a:cubicBezTo>
                    <a:cubicBezTo>
                      <a:pt x="750" y="562"/>
                      <a:pt x="750" y="562"/>
                      <a:pt x="856" y="562"/>
                    </a:cubicBezTo>
                    <a:cubicBezTo>
                      <a:pt x="869" y="562"/>
                      <a:pt x="880" y="552"/>
                      <a:pt x="880" y="538"/>
                    </a:cubicBezTo>
                    <a:cubicBezTo>
                      <a:pt x="880" y="538"/>
                      <a:pt x="880" y="538"/>
                      <a:pt x="880" y="394"/>
                    </a:cubicBezTo>
                    <a:cubicBezTo>
                      <a:pt x="880" y="341"/>
                      <a:pt x="836" y="297"/>
                      <a:pt x="782" y="297"/>
                    </a:cubicBez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</p:grpSp>
        <p:sp>
          <p:nvSpPr>
            <p:cNvPr id="2" name="TextBox 1"/>
            <p:cNvSpPr txBox="1"/>
            <p:nvPr/>
          </p:nvSpPr>
          <p:spPr>
            <a:xfrm>
              <a:off x="1319451" y="2832632"/>
              <a:ext cx="1733798" cy="33951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133350">
                <a:lnSpc>
                  <a:spcPct val="115000"/>
                </a:lnSpc>
                <a:buClr>
                  <a:schemeClr val="dk1"/>
                </a:buClr>
                <a:buSzPts val="1500"/>
              </a:pPr>
              <a:r>
                <a:rPr lang="en-US" sz="1500" dirty="0" err="1">
                  <a:solidFill>
                    <a:schemeClr val="dk1"/>
                  </a:solidFill>
                  <a:latin typeface="Roboto"/>
                  <a:ea typeface="Roboto"/>
                  <a:cs typeface="Roboto"/>
                  <a:sym typeface="Roboto"/>
                </a:rPr>
                <a:t>Água</a:t>
              </a:r>
              <a:endParaRPr lang="en-US" sz="1500" dirty="0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endParaRPr>
            </a:p>
          </p:txBody>
        </p:sp>
      </p:grpSp>
      <p:grpSp>
        <p:nvGrpSpPr>
          <p:cNvPr id="7" name="Group 6"/>
          <p:cNvGrpSpPr/>
          <p:nvPr/>
        </p:nvGrpSpPr>
        <p:grpSpPr>
          <a:xfrm>
            <a:off x="6990051" y="2521284"/>
            <a:ext cx="1733798" cy="1206208"/>
            <a:chOff x="4122894" y="1965941"/>
            <a:chExt cx="1733798" cy="1206208"/>
          </a:xfrm>
        </p:grpSpPr>
        <p:grpSp>
          <p:nvGrpSpPr>
            <p:cNvPr id="8" name="bcgBugs_EnergyLightningBolt"/>
            <p:cNvGrpSpPr>
              <a:grpSpLocks noChangeAspect="1"/>
            </p:cNvGrpSpPr>
            <p:nvPr/>
          </p:nvGrpSpPr>
          <p:grpSpPr bwMode="auto">
            <a:xfrm>
              <a:off x="4253875" y="1965941"/>
              <a:ext cx="890649" cy="891520"/>
              <a:chOff x="2818" y="1137"/>
              <a:chExt cx="2044" cy="2046"/>
            </a:xfrm>
          </p:grpSpPr>
          <p:sp>
            <p:nvSpPr>
              <p:cNvPr id="9" name="AutoShape 16"/>
              <p:cNvSpPr>
                <a:spLocks noChangeAspect="1" noChangeArrowheads="1" noTextEdit="1"/>
              </p:cNvSpPr>
              <p:nvPr/>
            </p:nvSpPr>
            <p:spPr bwMode="auto">
              <a:xfrm>
                <a:off x="2818" y="1137"/>
                <a:ext cx="2044" cy="204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0" name="Freeform 9"/>
              <p:cNvSpPr>
                <a:spLocks/>
              </p:cNvSpPr>
              <p:nvPr/>
            </p:nvSpPr>
            <p:spPr bwMode="auto">
              <a:xfrm>
                <a:off x="3334" y="1248"/>
                <a:ext cx="1014" cy="1826"/>
              </a:xfrm>
              <a:custGeom>
                <a:avLst/>
                <a:gdLst>
                  <a:gd name="T0" fmla="*/ 280 w 496"/>
                  <a:gd name="T1" fmla="*/ 339 h 892"/>
                  <a:gd name="T2" fmla="*/ 332 w 496"/>
                  <a:gd name="T3" fmla="*/ 21 h 892"/>
                  <a:gd name="T4" fmla="*/ 307 w 496"/>
                  <a:gd name="T5" fmla="*/ 13 h 892"/>
                  <a:gd name="T6" fmla="*/ 5 w 496"/>
                  <a:gd name="T7" fmla="*/ 568 h 892"/>
                  <a:gd name="T8" fmla="*/ 20 w 496"/>
                  <a:gd name="T9" fmla="*/ 587 h 892"/>
                  <a:gd name="T10" fmla="*/ 200 w 496"/>
                  <a:gd name="T11" fmla="*/ 539 h 892"/>
                  <a:gd name="T12" fmla="*/ 216 w 496"/>
                  <a:gd name="T13" fmla="*/ 554 h 892"/>
                  <a:gd name="T14" fmla="*/ 164 w 496"/>
                  <a:gd name="T15" fmla="*/ 871 h 892"/>
                  <a:gd name="T16" fmla="*/ 189 w 496"/>
                  <a:gd name="T17" fmla="*/ 879 h 892"/>
                  <a:gd name="T18" fmla="*/ 491 w 496"/>
                  <a:gd name="T19" fmla="*/ 324 h 892"/>
                  <a:gd name="T20" fmla="*/ 475 w 496"/>
                  <a:gd name="T21" fmla="*/ 305 h 892"/>
                  <a:gd name="T22" fmla="*/ 296 w 496"/>
                  <a:gd name="T23" fmla="*/ 354 h 892"/>
                  <a:gd name="T24" fmla="*/ 280 w 496"/>
                  <a:gd name="T25" fmla="*/ 339 h 8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496" h="892">
                    <a:moveTo>
                      <a:pt x="280" y="339"/>
                    </a:moveTo>
                    <a:cubicBezTo>
                      <a:pt x="332" y="21"/>
                      <a:pt x="332" y="21"/>
                      <a:pt x="332" y="21"/>
                    </a:cubicBezTo>
                    <a:cubicBezTo>
                      <a:pt x="334" y="7"/>
                      <a:pt x="314" y="0"/>
                      <a:pt x="307" y="13"/>
                    </a:cubicBezTo>
                    <a:cubicBezTo>
                      <a:pt x="5" y="568"/>
                      <a:pt x="5" y="568"/>
                      <a:pt x="5" y="568"/>
                    </a:cubicBezTo>
                    <a:cubicBezTo>
                      <a:pt x="0" y="579"/>
                      <a:pt x="9" y="591"/>
                      <a:pt x="20" y="587"/>
                    </a:cubicBezTo>
                    <a:cubicBezTo>
                      <a:pt x="200" y="539"/>
                      <a:pt x="200" y="539"/>
                      <a:pt x="200" y="539"/>
                    </a:cubicBezTo>
                    <a:cubicBezTo>
                      <a:pt x="209" y="536"/>
                      <a:pt x="218" y="544"/>
                      <a:pt x="216" y="554"/>
                    </a:cubicBezTo>
                    <a:cubicBezTo>
                      <a:pt x="164" y="871"/>
                      <a:pt x="164" y="871"/>
                      <a:pt x="164" y="871"/>
                    </a:cubicBezTo>
                    <a:cubicBezTo>
                      <a:pt x="162" y="885"/>
                      <a:pt x="182" y="892"/>
                      <a:pt x="189" y="879"/>
                    </a:cubicBezTo>
                    <a:cubicBezTo>
                      <a:pt x="491" y="324"/>
                      <a:pt x="491" y="324"/>
                      <a:pt x="491" y="324"/>
                    </a:cubicBezTo>
                    <a:cubicBezTo>
                      <a:pt x="496" y="313"/>
                      <a:pt x="487" y="302"/>
                      <a:pt x="475" y="305"/>
                    </a:cubicBezTo>
                    <a:cubicBezTo>
                      <a:pt x="296" y="354"/>
                      <a:pt x="296" y="354"/>
                      <a:pt x="296" y="354"/>
                    </a:cubicBezTo>
                    <a:cubicBezTo>
                      <a:pt x="287" y="357"/>
                      <a:pt x="278" y="349"/>
                      <a:pt x="280" y="339"/>
                    </a:cubicBez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</p:grpSp>
        <p:sp>
          <p:nvSpPr>
            <p:cNvPr id="14" name="TextBox 13"/>
            <p:cNvSpPr txBox="1"/>
            <p:nvPr/>
          </p:nvSpPr>
          <p:spPr>
            <a:xfrm>
              <a:off x="4122894" y="2832632"/>
              <a:ext cx="1733798" cy="33951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133350">
                <a:lnSpc>
                  <a:spcPct val="115000"/>
                </a:lnSpc>
                <a:buClr>
                  <a:schemeClr val="dk1"/>
                </a:buClr>
                <a:buSzPts val="1500"/>
              </a:pPr>
              <a:r>
                <a:rPr lang="en-US" sz="1500" dirty="0" err="1" smtClean="0">
                  <a:solidFill>
                    <a:schemeClr val="dk1"/>
                  </a:solidFill>
                  <a:latin typeface="Roboto"/>
                  <a:ea typeface="Roboto"/>
                  <a:cs typeface="Roboto"/>
                  <a:sym typeface="Roboto"/>
                </a:rPr>
                <a:t>Energia</a:t>
              </a:r>
              <a:endParaRPr lang="en-US" sz="1500" dirty="0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endParaRPr>
            </a:p>
          </p:txBody>
        </p:sp>
      </p:grpSp>
      <p:grpSp>
        <p:nvGrpSpPr>
          <p:cNvPr id="16" name="Group 15"/>
          <p:cNvGrpSpPr/>
          <p:nvPr/>
        </p:nvGrpSpPr>
        <p:grpSpPr>
          <a:xfrm>
            <a:off x="6990051" y="3836156"/>
            <a:ext cx="1733798" cy="998260"/>
            <a:chOff x="6990051" y="2173889"/>
            <a:chExt cx="1733798" cy="998260"/>
          </a:xfrm>
        </p:grpSpPr>
        <p:grpSp>
          <p:nvGrpSpPr>
            <p:cNvPr id="11" name="Group 10"/>
            <p:cNvGrpSpPr>
              <a:grpSpLocks noChangeAspect="1"/>
            </p:cNvGrpSpPr>
            <p:nvPr/>
          </p:nvGrpSpPr>
          <p:grpSpPr>
            <a:xfrm>
              <a:off x="7187342" y="2173889"/>
              <a:ext cx="828502" cy="828502"/>
              <a:chOff x="5730875" y="3063875"/>
              <a:chExt cx="730250" cy="730250"/>
            </a:xfrm>
          </p:grpSpPr>
          <p:sp>
            <p:nvSpPr>
              <p:cNvPr id="12" name="AutoShape 3"/>
              <p:cNvSpPr>
                <a:spLocks noChangeAspect="1" noChangeArrowheads="1" noTextEdit="1"/>
              </p:cNvSpPr>
              <p:nvPr/>
            </p:nvSpPr>
            <p:spPr bwMode="auto">
              <a:xfrm>
                <a:off x="5730875" y="3063875"/>
                <a:ext cx="730250" cy="73025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" name="Freeform 12"/>
              <p:cNvSpPr>
                <a:spLocks/>
              </p:cNvSpPr>
              <p:nvPr/>
            </p:nvSpPr>
            <p:spPr bwMode="auto">
              <a:xfrm>
                <a:off x="5813424" y="3151188"/>
                <a:ext cx="566940" cy="555625"/>
              </a:xfrm>
              <a:custGeom>
                <a:avLst/>
                <a:gdLst>
                  <a:gd name="connsiteX0" fmla="*/ 124065 w 566940"/>
                  <a:gd name="connsiteY0" fmla="*/ 376237 h 555625"/>
                  <a:gd name="connsiteX1" fmla="*/ 264386 w 566940"/>
                  <a:gd name="connsiteY1" fmla="*/ 376237 h 555625"/>
                  <a:gd name="connsiteX2" fmla="*/ 265113 w 566940"/>
                  <a:gd name="connsiteY2" fmla="*/ 376237 h 555625"/>
                  <a:gd name="connsiteX3" fmla="*/ 265113 w 566940"/>
                  <a:gd name="connsiteY3" fmla="*/ 509587 h 555625"/>
                  <a:gd name="connsiteX4" fmla="*/ 154602 w 566940"/>
                  <a:gd name="connsiteY4" fmla="*/ 509587 h 555625"/>
                  <a:gd name="connsiteX5" fmla="*/ 113887 w 566940"/>
                  <a:gd name="connsiteY5" fmla="*/ 492918 h 555625"/>
                  <a:gd name="connsiteX6" fmla="*/ 94983 w 566940"/>
                  <a:gd name="connsiteY6" fmla="*/ 460306 h 555625"/>
                  <a:gd name="connsiteX7" fmla="*/ 97165 w 566940"/>
                  <a:gd name="connsiteY7" fmla="*/ 428418 h 555625"/>
                  <a:gd name="connsiteX8" fmla="*/ 114614 w 566940"/>
                  <a:gd name="connsiteY8" fmla="*/ 392906 h 555625"/>
                  <a:gd name="connsiteX9" fmla="*/ 122611 w 566940"/>
                  <a:gd name="connsiteY9" fmla="*/ 377687 h 555625"/>
                  <a:gd name="connsiteX10" fmla="*/ 124065 w 566940"/>
                  <a:gd name="connsiteY10" fmla="*/ 376237 h 555625"/>
                  <a:gd name="connsiteX11" fmla="*/ 370520 w 566940"/>
                  <a:gd name="connsiteY11" fmla="*/ 330200 h 555625"/>
                  <a:gd name="connsiteX12" fmla="*/ 370520 w 566940"/>
                  <a:gd name="connsiteY12" fmla="*/ 376890 h 555625"/>
                  <a:gd name="connsiteX13" fmla="*/ 371983 w 566940"/>
                  <a:gd name="connsiteY13" fmla="*/ 376890 h 555625"/>
                  <a:gd name="connsiteX14" fmla="*/ 502937 w 566940"/>
                  <a:gd name="connsiteY14" fmla="*/ 376890 h 555625"/>
                  <a:gd name="connsiteX15" fmla="*/ 544638 w 566940"/>
                  <a:gd name="connsiteY15" fmla="*/ 363029 h 555625"/>
                  <a:gd name="connsiteX16" fmla="*/ 546101 w 566940"/>
                  <a:gd name="connsiteY16" fmla="*/ 363029 h 555625"/>
                  <a:gd name="connsiteX17" fmla="*/ 543906 w 566940"/>
                  <a:gd name="connsiteY17" fmla="*/ 366677 h 555625"/>
                  <a:gd name="connsiteX18" fmla="*/ 491232 w 566940"/>
                  <a:gd name="connsiteY18" fmla="*/ 457868 h 555625"/>
                  <a:gd name="connsiteX19" fmla="*/ 471479 w 566940"/>
                  <a:gd name="connsiteY19" fmla="*/ 492885 h 555625"/>
                  <a:gd name="connsiteX20" fmla="*/ 442215 w 566940"/>
                  <a:gd name="connsiteY20" fmla="*/ 509665 h 555625"/>
                  <a:gd name="connsiteX21" fmla="*/ 372714 w 566940"/>
                  <a:gd name="connsiteY21" fmla="*/ 509665 h 555625"/>
                  <a:gd name="connsiteX22" fmla="*/ 370520 w 566940"/>
                  <a:gd name="connsiteY22" fmla="*/ 509665 h 555625"/>
                  <a:gd name="connsiteX23" fmla="*/ 370520 w 566940"/>
                  <a:gd name="connsiteY23" fmla="*/ 555625 h 555625"/>
                  <a:gd name="connsiteX24" fmla="*/ 369788 w 566940"/>
                  <a:gd name="connsiteY24" fmla="*/ 554896 h 555625"/>
                  <a:gd name="connsiteX25" fmla="*/ 312724 w 566940"/>
                  <a:gd name="connsiteY25" fmla="*/ 460057 h 555625"/>
                  <a:gd name="connsiteX26" fmla="*/ 303213 w 566940"/>
                  <a:gd name="connsiteY26" fmla="*/ 444007 h 555625"/>
                  <a:gd name="connsiteX27" fmla="*/ 303213 w 566940"/>
                  <a:gd name="connsiteY27" fmla="*/ 441818 h 555625"/>
                  <a:gd name="connsiteX28" fmla="*/ 369788 w 566940"/>
                  <a:gd name="connsiteY28" fmla="*/ 331659 h 555625"/>
                  <a:gd name="connsiteX29" fmla="*/ 370520 w 566940"/>
                  <a:gd name="connsiteY29" fmla="*/ 330200 h 555625"/>
                  <a:gd name="connsiteX30" fmla="*/ 116575 w 566940"/>
                  <a:gd name="connsiteY30" fmla="*/ 200025 h 555625"/>
                  <a:gd name="connsiteX31" fmla="*/ 130418 w 566940"/>
                  <a:gd name="connsiteY31" fmla="*/ 200025 h 555625"/>
                  <a:gd name="connsiteX32" fmla="*/ 131876 w 566940"/>
                  <a:gd name="connsiteY32" fmla="*/ 200756 h 555625"/>
                  <a:gd name="connsiteX33" fmla="*/ 172677 w 566940"/>
                  <a:gd name="connsiteY33" fmla="*/ 274614 h 555625"/>
                  <a:gd name="connsiteX34" fmla="*/ 195263 w 566940"/>
                  <a:gd name="connsiteY34" fmla="*/ 315566 h 555625"/>
                  <a:gd name="connsiteX35" fmla="*/ 154462 w 566940"/>
                  <a:gd name="connsiteY35" fmla="*/ 292165 h 555625"/>
                  <a:gd name="connsiteX36" fmla="*/ 89617 w 566940"/>
                  <a:gd name="connsiteY36" fmla="*/ 403318 h 555625"/>
                  <a:gd name="connsiteX37" fmla="*/ 78688 w 566940"/>
                  <a:gd name="connsiteY37" fmla="*/ 441344 h 555625"/>
                  <a:gd name="connsiteX38" fmla="*/ 78688 w 566940"/>
                  <a:gd name="connsiteY38" fmla="*/ 450850 h 555625"/>
                  <a:gd name="connsiteX39" fmla="*/ 77960 w 566940"/>
                  <a:gd name="connsiteY39" fmla="*/ 450119 h 555625"/>
                  <a:gd name="connsiteX40" fmla="*/ 3643 w 566940"/>
                  <a:gd name="connsiteY40" fmla="*/ 320684 h 555625"/>
                  <a:gd name="connsiteX41" fmla="*/ 0 w 566940"/>
                  <a:gd name="connsiteY41" fmla="*/ 308984 h 555625"/>
                  <a:gd name="connsiteX42" fmla="*/ 0 w 566940"/>
                  <a:gd name="connsiteY42" fmla="*/ 308253 h 555625"/>
                  <a:gd name="connsiteX43" fmla="*/ 0 w 566940"/>
                  <a:gd name="connsiteY43" fmla="*/ 303134 h 555625"/>
                  <a:gd name="connsiteX44" fmla="*/ 1457 w 566940"/>
                  <a:gd name="connsiteY44" fmla="*/ 296553 h 555625"/>
                  <a:gd name="connsiteX45" fmla="*/ 4372 w 566940"/>
                  <a:gd name="connsiteY45" fmla="*/ 288509 h 555625"/>
                  <a:gd name="connsiteX46" fmla="*/ 39344 w 566940"/>
                  <a:gd name="connsiteY46" fmla="*/ 226351 h 555625"/>
                  <a:gd name="connsiteX47" fmla="*/ 40073 w 566940"/>
                  <a:gd name="connsiteY47" fmla="*/ 224888 h 555625"/>
                  <a:gd name="connsiteX48" fmla="*/ 729 w 566940"/>
                  <a:gd name="connsiteY48" fmla="*/ 202219 h 555625"/>
                  <a:gd name="connsiteX49" fmla="*/ 116575 w 566940"/>
                  <a:gd name="connsiteY49" fmla="*/ 200025 h 555625"/>
                  <a:gd name="connsiteX50" fmla="*/ 503116 w 566940"/>
                  <a:gd name="connsiteY50" fmla="*/ 173037 h 555625"/>
                  <a:gd name="connsiteX51" fmla="*/ 503848 w 566940"/>
                  <a:gd name="connsiteY51" fmla="*/ 174490 h 555625"/>
                  <a:gd name="connsiteX52" fmla="*/ 558068 w 566940"/>
                  <a:gd name="connsiteY52" fmla="*/ 267494 h 555625"/>
                  <a:gd name="connsiteX53" fmla="*/ 566127 w 566940"/>
                  <a:gd name="connsiteY53" fmla="*/ 288565 h 555625"/>
                  <a:gd name="connsiteX54" fmla="*/ 558800 w 566940"/>
                  <a:gd name="connsiteY54" fmla="*/ 328527 h 555625"/>
                  <a:gd name="connsiteX55" fmla="*/ 533889 w 566940"/>
                  <a:gd name="connsiteY55" fmla="*/ 353958 h 555625"/>
                  <a:gd name="connsiteX56" fmla="*/ 514106 w 566940"/>
                  <a:gd name="connsiteY56" fmla="*/ 361224 h 555625"/>
                  <a:gd name="connsiteX57" fmla="*/ 497254 w 566940"/>
                  <a:gd name="connsiteY57" fmla="*/ 361950 h 555625"/>
                  <a:gd name="connsiteX58" fmla="*/ 460619 w 566940"/>
                  <a:gd name="connsiteY58" fmla="*/ 361950 h 555625"/>
                  <a:gd name="connsiteX59" fmla="*/ 458421 w 566940"/>
                  <a:gd name="connsiteY59" fmla="*/ 361224 h 555625"/>
                  <a:gd name="connsiteX60" fmla="*/ 409331 w 566940"/>
                  <a:gd name="connsiteY60" fmla="*/ 277666 h 555625"/>
                  <a:gd name="connsiteX61" fmla="*/ 388083 w 566940"/>
                  <a:gd name="connsiteY61" fmla="*/ 239883 h 555625"/>
                  <a:gd name="connsiteX62" fmla="*/ 387350 w 566940"/>
                  <a:gd name="connsiteY62" fmla="*/ 238430 h 555625"/>
                  <a:gd name="connsiteX63" fmla="*/ 503116 w 566940"/>
                  <a:gd name="connsiteY63" fmla="*/ 173037 h 555625"/>
                  <a:gd name="connsiteX64" fmla="*/ 206958 w 566940"/>
                  <a:gd name="connsiteY64" fmla="*/ 7078 h 555625"/>
                  <a:gd name="connsiteX65" fmla="*/ 234764 w 566940"/>
                  <a:gd name="connsiteY65" fmla="*/ 15815 h 555625"/>
                  <a:gd name="connsiteX66" fmla="*/ 258180 w 566940"/>
                  <a:gd name="connsiteY66" fmla="*/ 40571 h 555625"/>
                  <a:gd name="connsiteX67" fmla="*/ 279400 w 566940"/>
                  <a:gd name="connsiteY67" fmla="*/ 75520 h 555625"/>
                  <a:gd name="connsiteX68" fmla="*/ 279400 w 566940"/>
                  <a:gd name="connsiteY68" fmla="*/ 77704 h 555625"/>
                  <a:gd name="connsiteX69" fmla="*/ 270619 w 566940"/>
                  <a:gd name="connsiteY69" fmla="*/ 91538 h 555625"/>
                  <a:gd name="connsiteX70" fmla="*/ 209153 w 566940"/>
                  <a:gd name="connsiteY70" fmla="*/ 197112 h 555625"/>
                  <a:gd name="connsiteX71" fmla="*/ 207690 w 566940"/>
                  <a:gd name="connsiteY71" fmla="*/ 200025 h 555625"/>
                  <a:gd name="connsiteX72" fmla="*/ 92075 w 566940"/>
                  <a:gd name="connsiteY72" fmla="*/ 133040 h 555625"/>
                  <a:gd name="connsiteX73" fmla="*/ 96466 w 566940"/>
                  <a:gd name="connsiteY73" fmla="*/ 126487 h 555625"/>
                  <a:gd name="connsiteX74" fmla="*/ 114759 w 566940"/>
                  <a:gd name="connsiteY74" fmla="*/ 93722 h 555625"/>
                  <a:gd name="connsiteX75" fmla="*/ 147687 w 566940"/>
                  <a:gd name="connsiteY75" fmla="*/ 36930 h 555625"/>
                  <a:gd name="connsiteX76" fmla="*/ 180616 w 566940"/>
                  <a:gd name="connsiteY76" fmla="*/ 9990 h 555625"/>
                  <a:gd name="connsiteX77" fmla="*/ 206958 w 566940"/>
                  <a:gd name="connsiteY77" fmla="*/ 7078 h 555625"/>
                  <a:gd name="connsiteX78" fmla="*/ 234950 w 566940"/>
                  <a:gd name="connsiteY78" fmla="*/ 0 h 555625"/>
                  <a:gd name="connsiteX79" fmla="*/ 387715 w 566940"/>
                  <a:gd name="connsiteY79" fmla="*/ 0 h 555625"/>
                  <a:gd name="connsiteX80" fmla="*/ 394326 w 566940"/>
                  <a:gd name="connsiteY80" fmla="*/ 733 h 555625"/>
                  <a:gd name="connsiteX81" fmla="*/ 414890 w 566940"/>
                  <a:gd name="connsiteY81" fmla="*/ 16852 h 555625"/>
                  <a:gd name="connsiteX82" fmla="*/ 450144 w 566940"/>
                  <a:gd name="connsiteY82" fmla="*/ 77665 h 555625"/>
                  <a:gd name="connsiteX83" fmla="*/ 450878 w 566940"/>
                  <a:gd name="connsiteY83" fmla="*/ 79131 h 555625"/>
                  <a:gd name="connsiteX84" fmla="*/ 490538 w 566940"/>
                  <a:gd name="connsiteY84" fmla="*/ 55684 h 555625"/>
                  <a:gd name="connsiteX85" fmla="*/ 490538 w 566940"/>
                  <a:gd name="connsiteY85" fmla="*/ 56417 h 555625"/>
                  <a:gd name="connsiteX86" fmla="*/ 489804 w 566940"/>
                  <a:gd name="connsiteY86" fmla="*/ 56417 h 555625"/>
                  <a:gd name="connsiteX87" fmla="*/ 472911 w 566940"/>
                  <a:gd name="connsiteY87" fmla="*/ 88656 h 555625"/>
                  <a:gd name="connsiteX88" fmla="*/ 428110 w 566940"/>
                  <a:gd name="connsiteY88" fmla="*/ 169252 h 555625"/>
                  <a:gd name="connsiteX89" fmla="*/ 425172 w 566940"/>
                  <a:gd name="connsiteY89" fmla="*/ 171450 h 555625"/>
                  <a:gd name="connsiteX90" fmla="*/ 299582 w 566940"/>
                  <a:gd name="connsiteY90" fmla="*/ 169252 h 555625"/>
                  <a:gd name="connsiteX91" fmla="*/ 295175 w 566940"/>
                  <a:gd name="connsiteY91" fmla="*/ 168519 h 555625"/>
                  <a:gd name="connsiteX92" fmla="*/ 335570 w 566940"/>
                  <a:gd name="connsiteY92" fmla="*/ 146538 h 555625"/>
                  <a:gd name="connsiteX93" fmla="*/ 334101 w 566940"/>
                  <a:gd name="connsiteY93" fmla="*/ 145073 h 555625"/>
                  <a:gd name="connsiteX94" fmla="*/ 305457 w 566940"/>
                  <a:gd name="connsiteY94" fmla="*/ 93784 h 555625"/>
                  <a:gd name="connsiteX95" fmla="*/ 271673 w 566940"/>
                  <a:gd name="connsiteY95" fmla="*/ 34436 h 555625"/>
                  <a:gd name="connsiteX96" fmla="*/ 245233 w 566940"/>
                  <a:gd name="connsiteY96" fmla="*/ 5861 h 555625"/>
                  <a:gd name="connsiteX97" fmla="*/ 237154 w 566940"/>
                  <a:gd name="connsiteY97" fmla="*/ 733 h 555625"/>
                  <a:gd name="connsiteX98" fmla="*/ 234950 w 566940"/>
                  <a:gd name="connsiteY98" fmla="*/ 0 h 5556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</a:cxnLst>
                <a:rect l="l" t="t" r="r" b="b"/>
                <a:pathLst>
                  <a:path w="566940" h="555625">
                    <a:moveTo>
                      <a:pt x="124065" y="376237"/>
                    </a:moveTo>
                    <a:cubicBezTo>
                      <a:pt x="171324" y="376237"/>
                      <a:pt x="217855" y="376237"/>
                      <a:pt x="264386" y="376237"/>
                    </a:cubicBezTo>
                    <a:cubicBezTo>
                      <a:pt x="265113" y="376237"/>
                      <a:pt x="265113" y="376237"/>
                      <a:pt x="265113" y="376237"/>
                    </a:cubicBezTo>
                    <a:cubicBezTo>
                      <a:pt x="265113" y="421170"/>
                      <a:pt x="265113" y="465379"/>
                      <a:pt x="265113" y="509587"/>
                    </a:cubicBezTo>
                    <a:cubicBezTo>
                      <a:pt x="228034" y="509587"/>
                      <a:pt x="190954" y="509587"/>
                      <a:pt x="154602" y="509587"/>
                    </a:cubicBezTo>
                    <a:cubicBezTo>
                      <a:pt x="138606" y="509587"/>
                      <a:pt x="125520" y="503789"/>
                      <a:pt x="113887" y="492918"/>
                    </a:cubicBezTo>
                    <a:cubicBezTo>
                      <a:pt x="103708" y="484222"/>
                      <a:pt x="97892" y="473351"/>
                      <a:pt x="94983" y="460306"/>
                    </a:cubicBezTo>
                    <a:cubicBezTo>
                      <a:pt x="92075" y="450159"/>
                      <a:pt x="93529" y="438564"/>
                      <a:pt x="97165" y="428418"/>
                    </a:cubicBezTo>
                    <a:cubicBezTo>
                      <a:pt x="100073" y="415372"/>
                      <a:pt x="107343" y="403777"/>
                      <a:pt x="114614" y="392906"/>
                    </a:cubicBezTo>
                    <a:cubicBezTo>
                      <a:pt x="116795" y="387833"/>
                      <a:pt x="119703" y="382760"/>
                      <a:pt x="122611" y="377687"/>
                    </a:cubicBezTo>
                    <a:cubicBezTo>
                      <a:pt x="122611" y="376962"/>
                      <a:pt x="123338" y="376237"/>
                      <a:pt x="124065" y="376237"/>
                    </a:cubicBezTo>
                    <a:close/>
                    <a:moveTo>
                      <a:pt x="370520" y="330200"/>
                    </a:moveTo>
                    <a:cubicBezTo>
                      <a:pt x="370520" y="346250"/>
                      <a:pt x="370520" y="361570"/>
                      <a:pt x="370520" y="376890"/>
                    </a:cubicBezTo>
                    <a:cubicBezTo>
                      <a:pt x="371251" y="376890"/>
                      <a:pt x="371251" y="376890"/>
                      <a:pt x="371983" y="376890"/>
                    </a:cubicBezTo>
                    <a:cubicBezTo>
                      <a:pt x="415147" y="376890"/>
                      <a:pt x="459042" y="376890"/>
                      <a:pt x="502937" y="376890"/>
                    </a:cubicBezTo>
                    <a:cubicBezTo>
                      <a:pt x="518301" y="376890"/>
                      <a:pt x="532201" y="372513"/>
                      <a:pt x="544638" y="363029"/>
                    </a:cubicBezTo>
                    <a:cubicBezTo>
                      <a:pt x="545370" y="363029"/>
                      <a:pt x="545370" y="363029"/>
                      <a:pt x="546101" y="363029"/>
                    </a:cubicBezTo>
                    <a:cubicBezTo>
                      <a:pt x="545370" y="364488"/>
                      <a:pt x="544638" y="365218"/>
                      <a:pt x="543906" y="366677"/>
                    </a:cubicBezTo>
                    <a:cubicBezTo>
                      <a:pt x="526348" y="396587"/>
                      <a:pt x="509522" y="427228"/>
                      <a:pt x="491232" y="457868"/>
                    </a:cubicBezTo>
                    <a:cubicBezTo>
                      <a:pt x="484648" y="469541"/>
                      <a:pt x="478063" y="481213"/>
                      <a:pt x="471479" y="492885"/>
                    </a:cubicBezTo>
                    <a:cubicBezTo>
                      <a:pt x="464895" y="503828"/>
                      <a:pt x="455384" y="509665"/>
                      <a:pt x="442215" y="509665"/>
                    </a:cubicBezTo>
                    <a:cubicBezTo>
                      <a:pt x="419536" y="510394"/>
                      <a:pt x="395394" y="509665"/>
                      <a:pt x="372714" y="509665"/>
                    </a:cubicBezTo>
                    <a:cubicBezTo>
                      <a:pt x="371983" y="509665"/>
                      <a:pt x="371251" y="509665"/>
                      <a:pt x="370520" y="509665"/>
                    </a:cubicBezTo>
                    <a:cubicBezTo>
                      <a:pt x="370520" y="525714"/>
                      <a:pt x="370520" y="541035"/>
                      <a:pt x="370520" y="555625"/>
                    </a:cubicBezTo>
                    <a:cubicBezTo>
                      <a:pt x="370520" y="555625"/>
                      <a:pt x="369788" y="555625"/>
                      <a:pt x="369788" y="554896"/>
                    </a:cubicBezTo>
                    <a:cubicBezTo>
                      <a:pt x="350767" y="523526"/>
                      <a:pt x="331745" y="492156"/>
                      <a:pt x="312724" y="460057"/>
                    </a:cubicBezTo>
                    <a:cubicBezTo>
                      <a:pt x="309798" y="454950"/>
                      <a:pt x="306140" y="449843"/>
                      <a:pt x="303213" y="444007"/>
                    </a:cubicBezTo>
                    <a:cubicBezTo>
                      <a:pt x="303213" y="444007"/>
                      <a:pt x="303213" y="442548"/>
                      <a:pt x="303213" y="441818"/>
                    </a:cubicBezTo>
                    <a:cubicBezTo>
                      <a:pt x="325893" y="404612"/>
                      <a:pt x="347109" y="368136"/>
                      <a:pt x="369788" y="331659"/>
                    </a:cubicBezTo>
                    <a:cubicBezTo>
                      <a:pt x="369788" y="330930"/>
                      <a:pt x="369788" y="330930"/>
                      <a:pt x="370520" y="330200"/>
                    </a:cubicBezTo>
                    <a:close/>
                    <a:moveTo>
                      <a:pt x="116575" y="200025"/>
                    </a:moveTo>
                    <a:cubicBezTo>
                      <a:pt x="120947" y="200025"/>
                      <a:pt x="125318" y="200025"/>
                      <a:pt x="130418" y="200025"/>
                    </a:cubicBezTo>
                    <a:cubicBezTo>
                      <a:pt x="130418" y="200025"/>
                      <a:pt x="131147" y="200025"/>
                      <a:pt x="131876" y="200756"/>
                    </a:cubicBezTo>
                    <a:cubicBezTo>
                      <a:pt x="144990" y="224888"/>
                      <a:pt x="158834" y="249751"/>
                      <a:pt x="172677" y="274614"/>
                    </a:cubicBezTo>
                    <a:cubicBezTo>
                      <a:pt x="179963" y="287777"/>
                      <a:pt x="194535" y="314834"/>
                      <a:pt x="195263" y="315566"/>
                    </a:cubicBezTo>
                    <a:cubicBezTo>
                      <a:pt x="181420" y="307522"/>
                      <a:pt x="167577" y="299478"/>
                      <a:pt x="154462" y="292165"/>
                    </a:cubicBezTo>
                    <a:cubicBezTo>
                      <a:pt x="132604" y="329460"/>
                      <a:pt x="110746" y="366754"/>
                      <a:pt x="89617" y="403318"/>
                    </a:cubicBezTo>
                    <a:cubicBezTo>
                      <a:pt x="83060" y="415749"/>
                      <a:pt x="79417" y="428181"/>
                      <a:pt x="78688" y="441344"/>
                    </a:cubicBezTo>
                    <a:cubicBezTo>
                      <a:pt x="78688" y="444269"/>
                      <a:pt x="78688" y="447925"/>
                      <a:pt x="78688" y="450850"/>
                    </a:cubicBezTo>
                    <a:cubicBezTo>
                      <a:pt x="78688" y="450850"/>
                      <a:pt x="78688" y="450850"/>
                      <a:pt x="77960" y="450119"/>
                    </a:cubicBezTo>
                    <a:cubicBezTo>
                      <a:pt x="53188" y="406974"/>
                      <a:pt x="29144" y="363829"/>
                      <a:pt x="3643" y="320684"/>
                    </a:cubicBezTo>
                    <a:cubicBezTo>
                      <a:pt x="2186" y="317028"/>
                      <a:pt x="729" y="312640"/>
                      <a:pt x="0" y="308984"/>
                    </a:cubicBezTo>
                    <a:cubicBezTo>
                      <a:pt x="0" y="308253"/>
                      <a:pt x="0" y="308253"/>
                      <a:pt x="0" y="308253"/>
                    </a:cubicBezTo>
                    <a:cubicBezTo>
                      <a:pt x="0" y="306059"/>
                      <a:pt x="0" y="304596"/>
                      <a:pt x="0" y="303134"/>
                    </a:cubicBezTo>
                    <a:cubicBezTo>
                      <a:pt x="0" y="300209"/>
                      <a:pt x="729" y="298015"/>
                      <a:pt x="1457" y="296553"/>
                    </a:cubicBezTo>
                    <a:cubicBezTo>
                      <a:pt x="2186" y="292896"/>
                      <a:pt x="2915" y="290702"/>
                      <a:pt x="4372" y="288509"/>
                    </a:cubicBezTo>
                    <a:cubicBezTo>
                      <a:pt x="16029" y="267302"/>
                      <a:pt x="27687" y="246826"/>
                      <a:pt x="39344" y="226351"/>
                    </a:cubicBezTo>
                    <a:cubicBezTo>
                      <a:pt x="40073" y="225620"/>
                      <a:pt x="40073" y="225620"/>
                      <a:pt x="40073" y="224888"/>
                    </a:cubicBezTo>
                    <a:cubicBezTo>
                      <a:pt x="26958" y="217576"/>
                      <a:pt x="13844" y="209532"/>
                      <a:pt x="729" y="202219"/>
                    </a:cubicBezTo>
                    <a:cubicBezTo>
                      <a:pt x="729" y="202219"/>
                      <a:pt x="77960" y="200756"/>
                      <a:pt x="116575" y="200025"/>
                    </a:cubicBezTo>
                    <a:close/>
                    <a:moveTo>
                      <a:pt x="503116" y="173037"/>
                    </a:moveTo>
                    <a:cubicBezTo>
                      <a:pt x="503116" y="173763"/>
                      <a:pt x="503848" y="174490"/>
                      <a:pt x="503848" y="174490"/>
                    </a:cubicBezTo>
                    <a:cubicBezTo>
                      <a:pt x="522898" y="205734"/>
                      <a:pt x="540483" y="236977"/>
                      <a:pt x="558068" y="267494"/>
                    </a:cubicBezTo>
                    <a:cubicBezTo>
                      <a:pt x="562464" y="274033"/>
                      <a:pt x="564662" y="281299"/>
                      <a:pt x="566127" y="288565"/>
                    </a:cubicBezTo>
                    <a:cubicBezTo>
                      <a:pt x="568325" y="303096"/>
                      <a:pt x="566127" y="316175"/>
                      <a:pt x="558800" y="328527"/>
                    </a:cubicBezTo>
                    <a:cubicBezTo>
                      <a:pt x="552939" y="339426"/>
                      <a:pt x="544879" y="347418"/>
                      <a:pt x="533889" y="353958"/>
                    </a:cubicBezTo>
                    <a:cubicBezTo>
                      <a:pt x="528027" y="357591"/>
                      <a:pt x="521433" y="359770"/>
                      <a:pt x="514106" y="361224"/>
                    </a:cubicBezTo>
                    <a:cubicBezTo>
                      <a:pt x="508977" y="361950"/>
                      <a:pt x="503116" y="361950"/>
                      <a:pt x="497254" y="361950"/>
                    </a:cubicBezTo>
                    <a:cubicBezTo>
                      <a:pt x="484798" y="361950"/>
                      <a:pt x="473075" y="361950"/>
                      <a:pt x="460619" y="361950"/>
                    </a:cubicBezTo>
                    <a:cubicBezTo>
                      <a:pt x="459887" y="361950"/>
                      <a:pt x="459154" y="361950"/>
                      <a:pt x="458421" y="361224"/>
                    </a:cubicBezTo>
                    <a:cubicBezTo>
                      <a:pt x="441569" y="333613"/>
                      <a:pt x="426183" y="305276"/>
                      <a:pt x="409331" y="277666"/>
                    </a:cubicBezTo>
                    <a:cubicBezTo>
                      <a:pt x="402004" y="264587"/>
                      <a:pt x="395410" y="252235"/>
                      <a:pt x="388083" y="239883"/>
                    </a:cubicBezTo>
                    <a:cubicBezTo>
                      <a:pt x="387350" y="239157"/>
                      <a:pt x="387350" y="239157"/>
                      <a:pt x="387350" y="238430"/>
                    </a:cubicBezTo>
                    <a:cubicBezTo>
                      <a:pt x="426183" y="216632"/>
                      <a:pt x="464283" y="195561"/>
                      <a:pt x="503116" y="173037"/>
                    </a:cubicBezTo>
                    <a:close/>
                    <a:moveTo>
                      <a:pt x="206958" y="7078"/>
                    </a:moveTo>
                    <a:cubicBezTo>
                      <a:pt x="217202" y="7806"/>
                      <a:pt x="225983" y="10718"/>
                      <a:pt x="234764" y="15815"/>
                    </a:cubicBezTo>
                    <a:cubicBezTo>
                      <a:pt x="245009" y="22368"/>
                      <a:pt x="252326" y="30377"/>
                      <a:pt x="258180" y="40571"/>
                    </a:cubicBezTo>
                    <a:cubicBezTo>
                      <a:pt x="265497" y="51492"/>
                      <a:pt x="272083" y="63870"/>
                      <a:pt x="279400" y="75520"/>
                    </a:cubicBezTo>
                    <a:cubicBezTo>
                      <a:pt x="279400" y="76248"/>
                      <a:pt x="279400" y="76976"/>
                      <a:pt x="279400" y="77704"/>
                    </a:cubicBezTo>
                    <a:cubicBezTo>
                      <a:pt x="276473" y="82072"/>
                      <a:pt x="272815" y="86441"/>
                      <a:pt x="270619" y="91538"/>
                    </a:cubicBezTo>
                    <a:cubicBezTo>
                      <a:pt x="250131" y="126487"/>
                      <a:pt x="229642" y="161435"/>
                      <a:pt x="209153" y="197112"/>
                    </a:cubicBezTo>
                    <a:cubicBezTo>
                      <a:pt x="209153" y="197841"/>
                      <a:pt x="208422" y="198569"/>
                      <a:pt x="207690" y="200025"/>
                    </a:cubicBezTo>
                    <a:cubicBezTo>
                      <a:pt x="169640" y="177454"/>
                      <a:pt x="130126" y="154883"/>
                      <a:pt x="92075" y="133040"/>
                    </a:cubicBezTo>
                    <a:cubicBezTo>
                      <a:pt x="93539" y="130855"/>
                      <a:pt x="95002" y="128671"/>
                      <a:pt x="96466" y="126487"/>
                    </a:cubicBezTo>
                    <a:cubicBezTo>
                      <a:pt x="102320" y="115565"/>
                      <a:pt x="108905" y="104644"/>
                      <a:pt x="114759" y="93722"/>
                    </a:cubicBezTo>
                    <a:cubicBezTo>
                      <a:pt x="125735" y="74791"/>
                      <a:pt x="136711" y="55861"/>
                      <a:pt x="147687" y="36930"/>
                    </a:cubicBezTo>
                    <a:cubicBezTo>
                      <a:pt x="155736" y="23824"/>
                      <a:pt x="165981" y="15087"/>
                      <a:pt x="180616" y="9990"/>
                    </a:cubicBezTo>
                    <a:cubicBezTo>
                      <a:pt x="189396" y="7078"/>
                      <a:pt x="198177" y="6350"/>
                      <a:pt x="206958" y="7078"/>
                    </a:cubicBezTo>
                    <a:close/>
                    <a:moveTo>
                      <a:pt x="234950" y="0"/>
                    </a:moveTo>
                    <a:cubicBezTo>
                      <a:pt x="285627" y="0"/>
                      <a:pt x="337039" y="0"/>
                      <a:pt x="387715" y="0"/>
                    </a:cubicBezTo>
                    <a:cubicBezTo>
                      <a:pt x="389919" y="733"/>
                      <a:pt x="392122" y="733"/>
                      <a:pt x="394326" y="733"/>
                    </a:cubicBezTo>
                    <a:cubicBezTo>
                      <a:pt x="403139" y="3663"/>
                      <a:pt x="409749" y="8792"/>
                      <a:pt x="414890" y="16852"/>
                    </a:cubicBezTo>
                    <a:cubicBezTo>
                      <a:pt x="426641" y="36634"/>
                      <a:pt x="438392" y="57150"/>
                      <a:pt x="450144" y="77665"/>
                    </a:cubicBezTo>
                    <a:cubicBezTo>
                      <a:pt x="450144" y="77665"/>
                      <a:pt x="450878" y="78398"/>
                      <a:pt x="450878" y="79131"/>
                    </a:cubicBezTo>
                    <a:cubicBezTo>
                      <a:pt x="464098" y="71071"/>
                      <a:pt x="477318" y="63011"/>
                      <a:pt x="490538" y="55684"/>
                    </a:cubicBezTo>
                    <a:cubicBezTo>
                      <a:pt x="490538" y="55684"/>
                      <a:pt x="490538" y="55684"/>
                      <a:pt x="490538" y="56417"/>
                    </a:cubicBezTo>
                    <a:cubicBezTo>
                      <a:pt x="490538" y="56417"/>
                      <a:pt x="490538" y="56417"/>
                      <a:pt x="489804" y="56417"/>
                    </a:cubicBezTo>
                    <a:cubicBezTo>
                      <a:pt x="483928" y="67408"/>
                      <a:pt x="478053" y="77665"/>
                      <a:pt x="472911" y="88656"/>
                    </a:cubicBezTo>
                    <a:cubicBezTo>
                      <a:pt x="457488" y="115765"/>
                      <a:pt x="442065" y="142875"/>
                      <a:pt x="428110" y="169252"/>
                    </a:cubicBezTo>
                    <a:cubicBezTo>
                      <a:pt x="427376" y="170717"/>
                      <a:pt x="426641" y="171450"/>
                      <a:pt x="425172" y="171450"/>
                    </a:cubicBezTo>
                    <a:cubicBezTo>
                      <a:pt x="383309" y="170717"/>
                      <a:pt x="341445" y="169984"/>
                      <a:pt x="299582" y="169252"/>
                    </a:cubicBezTo>
                    <a:cubicBezTo>
                      <a:pt x="298847" y="169252"/>
                      <a:pt x="297378" y="169252"/>
                      <a:pt x="295175" y="168519"/>
                    </a:cubicBezTo>
                    <a:cubicBezTo>
                      <a:pt x="308395" y="161192"/>
                      <a:pt x="321615" y="153865"/>
                      <a:pt x="335570" y="146538"/>
                    </a:cubicBezTo>
                    <a:cubicBezTo>
                      <a:pt x="334835" y="145806"/>
                      <a:pt x="334835" y="145073"/>
                      <a:pt x="334101" y="145073"/>
                    </a:cubicBezTo>
                    <a:cubicBezTo>
                      <a:pt x="325287" y="127488"/>
                      <a:pt x="315005" y="110636"/>
                      <a:pt x="305457" y="93784"/>
                    </a:cubicBezTo>
                    <a:cubicBezTo>
                      <a:pt x="293706" y="74002"/>
                      <a:pt x="282689" y="54219"/>
                      <a:pt x="271673" y="34436"/>
                    </a:cubicBezTo>
                    <a:cubicBezTo>
                      <a:pt x="265063" y="22713"/>
                      <a:pt x="256984" y="13188"/>
                      <a:pt x="245233" y="5861"/>
                    </a:cubicBezTo>
                    <a:cubicBezTo>
                      <a:pt x="243029" y="3663"/>
                      <a:pt x="239357" y="2198"/>
                      <a:pt x="237154" y="733"/>
                    </a:cubicBezTo>
                    <a:cubicBezTo>
                      <a:pt x="236419" y="733"/>
                      <a:pt x="235685" y="733"/>
                      <a:pt x="234950" y="0"/>
                    </a:cubicBez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dirty="0"/>
              </a:p>
            </p:txBody>
          </p:sp>
        </p:grpSp>
        <p:sp>
          <p:nvSpPr>
            <p:cNvPr id="15" name="TextBox 14"/>
            <p:cNvSpPr txBox="1"/>
            <p:nvPr/>
          </p:nvSpPr>
          <p:spPr>
            <a:xfrm>
              <a:off x="6990051" y="2832632"/>
              <a:ext cx="1733798" cy="33951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133350">
                <a:lnSpc>
                  <a:spcPct val="115000"/>
                </a:lnSpc>
                <a:buClr>
                  <a:schemeClr val="dk1"/>
                </a:buClr>
                <a:buSzPts val="1500"/>
              </a:pPr>
              <a:r>
                <a:rPr lang="en-US" sz="1500" dirty="0" err="1" smtClean="0">
                  <a:solidFill>
                    <a:schemeClr val="dk1"/>
                  </a:solidFill>
                  <a:latin typeface="Roboto"/>
                  <a:ea typeface="Roboto"/>
                  <a:cs typeface="Roboto"/>
                  <a:sym typeface="Roboto"/>
                </a:rPr>
                <a:t>Resíduos</a:t>
              </a:r>
              <a:endParaRPr lang="en-US" sz="1500" dirty="0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endParaRPr>
            </a:p>
          </p:txBody>
        </p:sp>
      </p:grpSp>
      <p:graphicFrame>
        <p:nvGraphicFramePr>
          <p:cNvPr id="19" name="Object 18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8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0" name="Group 19"/>
          <p:cNvGrpSpPr/>
          <p:nvPr/>
        </p:nvGrpSpPr>
        <p:grpSpPr>
          <a:xfrm>
            <a:off x="6608527" y="1615155"/>
            <a:ext cx="229628" cy="2957612"/>
            <a:chOff x="5942914" y="2060923"/>
            <a:chExt cx="306171" cy="3943483"/>
          </a:xfrm>
        </p:grpSpPr>
        <p:cxnSp>
          <p:nvCxnSpPr>
            <p:cNvPr id="21" name="Straight Connector 20"/>
            <p:cNvCxnSpPr/>
            <p:nvPr/>
          </p:nvCxnSpPr>
          <p:spPr>
            <a:xfrm>
              <a:off x="6090649" y="2060923"/>
              <a:ext cx="0" cy="3943483"/>
            </a:xfrm>
            <a:prstGeom prst="line">
              <a:avLst/>
            </a:prstGeom>
            <a:ln w="19050" cap="rnd">
              <a:solidFill>
                <a:srgbClr val="9A9A9A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22" name="Group 21"/>
            <p:cNvGrpSpPr/>
            <p:nvPr/>
          </p:nvGrpSpPr>
          <p:grpSpPr>
            <a:xfrm>
              <a:off x="5942914" y="3833745"/>
              <a:ext cx="306171" cy="306910"/>
              <a:chOff x="5942914" y="3833745"/>
              <a:chExt cx="306171" cy="306910"/>
            </a:xfrm>
          </p:grpSpPr>
          <p:sp>
            <p:nvSpPr>
              <p:cNvPr id="23" name="Freeform 94"/>
              <p:cNvSpPr>
                <a:spLocks/>
              </p:cNvSpPr>
              <p:nvPr/>
            </p:nvSpPr>
            <p:spPr bwMode="gray">
              <a:xfrm>
                <a:off x="5942914" y="3833745"/>
                <a:ext cx="306171" cy="306910"/>
              </a:xfrm>
              <a:custGeom>
                <a:avLst/>
                <a:gdLst>
                  <a:gd name="T0" fmla="*/ 0 w 1052"/>
                  <a:gd name="T1" fmla="*/ 526 h 1052"/>
                  <a:gd name="T2" fmla="*/ 0 w 1052"/>
                  <a:gd name="T3" fmla="*/ 526 h 1052"/>
                  <a:gd name="T4" fmla="*/ 526 w 1052"/>
                  <a:gd name="T5" fmla="*/ 0 h 1052"/>
                  <a:gd name="T6" fmla="*/ 1052 w 1052"/>
                  <a:gd name="T7" fmla="*/ 526 h 1052"/>
                  <a:gd name="T8" fmla="*/ 1052 w 1052"/>
                  <a:gd name="T9" fmla="*/ 526 h 1052"/>
                  <a:gd name="T10" fmla="*/ 526 w 1052"/>
                  <a:gd name="T11" fmla="*/ 1052 h 1052"/>
                  <a:gd name="T12" fmla="*/ 526 w 1052"/>
                  <a:gd name="T13" fmla="*/ 1052 h 1052"/>
                  <a:gd name="T14" fmla="*/ 0 w 1052"/>
                  <a:gd name="T15" fmla="*/ 526 h 10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052" h="1052">
                    <a:moveTo>
                      <a:pt x="0" y="526"/>
                    </a:moveTo>
                    <a:cubicBezTo>
                      <a:pt x="0" y="526"/>
                      <a:pt x="0" y="526"/>
                      <a:pt x="0" y="526"/>
                    </a:cubicBezTo>
                    <a:cubicBezTo>
                      <a:pt x="0" y="236"/>
                      <a:pt x="236" y="0"/>
                      <a:pt x="526" y="0"/>
                    </a:cubicBezTo>
                    <a:cubicBezTo>
                      <a:pt x="817" y="0"/>
                      <a:pt x="1052" y="236"/>
                      <a:pt x="1052" y="526"/>
                    </a:cubicBezTo>
                    <a:cubicBezTo>
                      <a:pt x="1052" y="526"/>
                      <a:pt x="1052" y="526"/>
                      <a:pt x="1052" y="526"/>
                    </a:cubicBezTo>
                    <a:cubicBezTo>
                      <a:pt x="1052" y="817"/>
                      <a:pt x="817" y="1052"/>
                      <a:pt x="526" y="1052"/>
                    </a:cubicBezTo>
                    <a:cubicBezTo>
                      <a:pt x="526" y="1052"/>
                      <a:pt x="526" y="1052"/>
                      <a:pt x="526" y="1052"/>
                    </a:cubicBezTo>
                    <a:cubicBezTo>
                      <a:pt x="236" y="1052"/>
                      <a:pt x="0" y="817"/>
                      <a:pt x="0" y="526"/>
                    </a:cubicBezTo>
                    <a:close/>
                  </a:path>
                </a:pathLst>
              </a:custGeom>
              <a:solidFill>
                <a:srgbClr val="433645"/>
              </a:solidFill>
              <a:ln>
                <a:solidFill>
                  <a:schemeClr val="tx2"/>
                </a:solidFill>
              </a:ln>
              <a:extLst/>
            </p:spPr>
            <p:txBody>
              <a:bodyPr vert="horz" wrap="square" lIns="66481" tIns="33241" rIns="66481" bIns="3324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00" dirty="0">
                  <a:solidFill>
                    <a:srgbClr val="6E6F73"/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24" name="Freeform 95"/>
              <p:cNvSpPr>
                <a:spLocks/>
              </p:cNvSpPr>
              <p:nvPr/>
            </p:nvSpPr>
            <p:spPr bwMode="gray">
              <a:xfrm>
                <a:off x="6059345" y="3876005"/>
                <a:ext cx="120251" cy="224731"/>
              </a:xfrm>
              <a:custGeom>
                <a:avLst/>
                <a:gdLst>
                  <a:gd name="T0" fmla="*/ 66 w 976"/>
                  <a:gd name="T1" fmla="*/ 1824 h 1824"/>
                  <a:gd name="T2" fmla="*/ 0 w 976"/>
                  <a:gd name="T3" fmla="*/ 1758 h 1824"/>
                  <a:gd name="T4" fmla="*/ 843 w 976"/>
                  <a:gd name="T5" fmla="*/ 912 h 1824"/>
                  <a:gd name="T6" fmla="*/ 0 w 976"/>
                  <a:gd name="T7" fmla="*/ 66 h 1824"/>
                  <a:gd name="T8" fmla="*/ 66 w 976"/>
                  <a:gd name="T9" fmla="*/ 0 h 1824"/>
                  <a:gd name="T10" fmla="*/ 976 w 976"/>
                  <a:gd name="T11" fmla="*/ 912 h 1824"/>
                  <a:gd name="T12" fmla="*/ 66 w 976"/>
                  <a:gd name="T13" fmla="*/ 1824 h 18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976" h="1824">
                    <a:moveTo>
                      <a:pt x="66" y="1824"/>
                    </a:moveTo>
                    <a:lnTo>
                      <a:pt x="0" y="1758"/>
                    </a:lnTo>
                    <a:lnTo>
                      <a:pt x="843" y="912"/>
                    </a:lnTo>
                    <a:lnTo>
                      <a:pt x="0" y="66"/>
                    </a:lnTo>
                    <a:lnTo>
                      <a:pt x="66" y="0"/>
                    </a:lnTo>
                    <a:lnTo>
                      <a:pt x="976" y="912"/>
                    </a:lnTo>
                    <a:lnTo>
                      <a:pt x="66" y="1824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6481" tIns="33241" rIns="66481" bIns="3324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00" dirty="0">
                  <a:solidFill>
                    <a:srgbClr val="6E6F73"/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2604498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0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" name="Google Shape;102;p16"/>
          <p:cNvSpPr txBox="1">
            <a:spLocks noGrp="1"/>
          </p:cNvSpPr>
          <p:nvPr>
            <p:ph type="title"/>
          </p:nvPr>
        </p:nvSpPr>
        <p:spPr>
          <a:xfrm>
            <a:off x="387900" y="458025"/>
            <a:ext cx="8368200" cy="686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000"/>
              <a:buNone/>
            </a:pPr>
            <a:r>
              <a:rPr lang="pt-BR"/>
              <a:t>Consumo de recursos disponíveis</a:t>
            </a:r>
            <a:endParaRPr/>
          </a:p>
        </p:txBody>
      </p:sp>
      <p:sp>
        <p:nvSpPr>
          <p:cNvPr id="103" name="Google Shape;103;p16"/>
          <p:cNvSpPr txBox="1">
            <a:spLocks noGrp="1"/>
          </p:cNvSpPr>
          <p:nvPr>
            <p:ph type="body" idx="1"/>
          </p:nvPr>
        </p:nvSpPr>
        <p:spPr>
          <a:xfrm>
            <a:off x="387900" y="1489824"/>
            <a:ext cx="8368200" cy="3078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457200" lvl="0" indent="-3429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800"/>
              <a:buChar char="-"/>
            </a:pPr>
            <a:r>
              <a:rPr lang="pt-BR" dirty="0"/>
              <a:t>Principais equipamentos: moinhos de massa, moinhos de esmalte, tanques de armazenamentos de massa e esmaltes, cabine de esmaltação, banca de expedição, bancas de fundição, fornos de queima, forno de requeima, empilhadeiras, compressores de ar, tanques agitadores de massa e esmalte, estufas e bombas = </a:t>
            </a:r>
            <a:r>
              <a:rPr lang="pt-BR" b="1" dirty="0"/>
              <a:t>Alto consumo de energia</a:t>
            </a:r>
            <a:endParaRPr b="1" dirty="0"/>
          </a:p>
          <a:p>
            <a:pPr marL="457200" lvl="0" indent="-3429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800"/>
              <a:buChar char="-"/>
            </a:pPr>
            <a:r>
              <a:rPr lang="pt-BR" dirty="0"/>
              <a:t>Principais matérias-primas e insumos: argilas, caulim, </a:t>
            </a:r>
            <a:r>
              <a:rPr lang="pt-BR" dirty="0" err="1"/>
              <a:t>filito</a:t>
            </a:r>
            <a:r>
              <a:rPr lang="pt-BR" dirty="0"/>
              <a:t>, feldspato, corantes minerais, gesso, silicato de sódio e água.</a:t>
            </a:r>
            <a:endParaRPr dirty="0"/>
          </a:p>
          <a:p>
            <a:pPr marL="457200" lvl="0" indent="0" algn="l" rtl="0">
              <a:lnSpc>
                <a:spcPct val="115000"/>
              </a:lnSpc>
              <a:spcBef>
                <a:spcPts val="1600"/>
              </a:spcBef>
              <a:spcAft>
                <a:spcPts val="1600"/>
              </a:spcAft>
              <a:buSzPts val="1800"/>
              <a:buNone/>
            </a:pPr>
            <a:endParaRPr dirty="0"/>
          </a:p>
        </p:txBody>
      </p:sp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4" name="Google Shape;114;p18"/>
          <p:cNvSpPr txBox="1">
            <a:spLocks noGrp="1"/>
          </p:cNvSpPr>
          <p:nvPr>
            <p:ph type="title"/>
          </p:nvPr>
        </p:nvSpPr>
        <p:spPr>
          <a:xfrm>
            <a:off x="387900" y="458025"/>
            <a:ext cx="8368200" cy="686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000"/>
              <a:buNone/>
            </a:pPr>
            <a:r>
              <a:rPr lang="pt-BR"/>
              <a:t>Detalhes Ambientais</a:t>
            </a:r>
            <a:endParaRPr/>
          </a:p>
        </p:txBody>
      </p:sp>
      <p:sp>
        <p:nvSpPr>
          <p:cNvPr id="115" name="Google Shape;115;p18"/>
          <p:cNvSpPr txBox="1">
            <a:spLocks noGrp="1"/>
          </p:cNvSpPr>
          <p:nvPr>
            <p:ph type="body" idx="1"/>
          </p:nvPr>
        </p:nvSpPr>
        <p:spPr>
          <a:xfrm>
            <a:off x="387900" y="1484367"/>
            <a:ext cx="8368200" cy="3078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457200" lvl="0" indent="-3429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800"/>
              <a:buFont typeface="Roboto"/>
              <a:buChar char="-"/>
            </a:pPr>
            <a:r>
              <a:rPr lang="pt-BR" sz="1500" b="1"/>
              <a:t>Licenciamento ambiental: </a:t>
            </a:r>
            <a:r>
              <a:rPr lang="pt-BR" sz="1500"/>
              <a:t>Licença de Operação Corretiva – LOC</a:t>
            </a:r>
            <a:endParaRPr/>
          </a:p>
          <a:p>
            <a:pPr marL="457200" lvl="0" indent="-3429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800"/>
              <a:buFont typeface="Roboto"/>
              <a:buChar char="-"/>
            </a:pPr>
            <a:r>
              <a:rPr lang="pt-BR" sz="1500" b="1"/>
              <a:t>Deliberação Normativa - DN COPAM : </a:t>
            </a:r>
            <a:r>
              <a:rPr lang="pt-BR" sz="1500"/>
              <a:t>fabricação de Material Cerâmico de porte Médio e Potencial Poluidor Médio, válida até 2027; e base de armazenamento e distribuição de GLP de porte Pequeno e Potencial Poluidor Médio, regularizada mediante Autorização Ambiental de Funcionamento AAF, válida até 07/12/2020.</a:t>
            </a:r>
            <a:endParaRPr/>
          </a:p>
          <a:p>
            <a:pPr marL="457200" lvl="0" indent="-3429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800"/>
              <a:buFont typeface="Roboto"/>
              <a:buChar char="-"/>
            </a:pPr>
            <a:r>
              <a:rPr lang="pt-BR" sz="1500" b="1"/>
              <a:t>Operação: </a:t>
            </a:r>
            <a:r>
              <a:rPr lang="pt-BR" sz="1500"/>
              <a:t>impacto ambiental não significativo; e presença de medidas mitigadoras e de controle ambiental exigíveis</a:t>
            </a:r>
            <a:endParaRPr/>
          </a:p>
          <a:p>
            <a:pPr marL="457200" lvl="0" indent="-3429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800"/>
              <a:buFont typeface="Roboto"/>
              <a:buChar char="-"/>
            </a:pPr>
            <a:r>
              <a:rPr lang="pt-BR" sz="1500"/>
              <a:t>Estudos Relatório de Controle Ambiental (RCA) e Plano de Controle Ambiental (PCA) para gerenciamento e destinação de resíduos sólidos</a:t>
            </a:r>
            <a:endParaRPr/>
          </a:p>
          <a:p>
            <a:pPr marL="457200" lvl="0" indent="-3429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800"/>
              <a:buFont typeface="Roboto"/>
              <a:buChar char="-"/>
            </a:pPr>
            <a:r>
              <a:rPr lang="pt-BR" sz="1500"/>
              <a:t>Há reuso de efluentes (água tratada) de ETE industrial e controle de gases</a:t>
            </a:r>
            <a:endParaRPr/>
          </a:p>
          <a:p>
            <a:pPr marL="457200" lvl="0" indent="-2286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</a:pPr>
            <a:endParaRPr/>
          </a:p>
        </p:txBody>
      </p:sp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Marina">
  <a:themeElements>
    <a:clrScheme name="Marina">
      <a:dk1>
        <a:srgbClr val="FFFFFF"/>
      </a:dk1>
      <a:lt1>
        <a:srgbClr val="00517C"/>
      </a:lt1>
      <a:dk2>
        <a:srgbClr val="004065"/>
      </a:dk2>
      <a:lt2>
        <a:srgbClr val="CFD8DC"/>
      </a:lt2>
      <a:accent1>
        <a:srgbClr val="0277BD"/>
      </a:accent1>
      <a:accent2>
        <a:srgbClr val="558B2F"/>
      </a:accent2>
      <a:accent3>
        <a:srgbClr val="009688"/>
      </a:accent3>
      <a:accent4>
        <a:srgbClr val="039BE5"/>
      </a:accent4>
      <a:accent5>
        <a:srgbClr val="8BC34A"/>
      </a:accent5>
      <a:accent6>
        <a:srgbClr val="FFEB38"/>
      </a:accent6>
      <a:hlink>
        <a:srgbClr val="8BC34A"/>
      </a:hlink>
      <a:folHlink>
        <a:srgbClr val="8BC34A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>
  <a:themeElements>
    <a:clrScheme name="Default">
      <a:dk1>
        <a:srgbClr val="000000"/>
      </a:dk1>
      <a:lt1>
        <a:srgbClr val="FFFFFF"/>
      </a:lt1>
      <a:dk2>
        <a:srgbClr val="158158"/>
      </a:dk2>
      <a:lt2>
        <a:srgbClr val="F3F3F3"/>
      </a:lt2>
      <a:accent1>
        <a:srgbClr val="058DC7"/>
      </a:accent1>
      <a:accent2>
        <a:srgbClr val="50B432"/>
      </a:accent2>
      <a:accent3>
        <a:srgbClr val="ED561B"/>
      </a:accent3>
      <a:accent4>
        <a:srgbClr val="EDEF00"/>
      </a:accent4>
      <a:accent5>
        <a:srgbClr val="24CBE5"/>
      </a:accent5>
      <a:accent6>
        <a:srgbClr val="64E572"/>
      </a:accent6>
      <a:hlink>
        <a:srgbClr val="2200CC"/>
      </a:hlink>
      <a:folHlink>
        <a:srgbClr val="551A8B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2</TotalTime>
  <Words>366</Words>
  <Application>Microsoft Office PowerPoint</Application>
  <PresentationFormat>On-screen Show (16:9)</PresentationFormat>
  <Paragraphs>47</Paragraphs>
  <Slides>6</Slides>
  <Notes>6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</vt:i4>
      </vt:variant>
    </vt:vector>
  </HeadingPairs>
  <TitlesOfParts>
    <vt:vector size="12" baseType="lpstr">
      <vt:lpstr>Arial</vt:lpstr>
      <vt:lpstr>Roboto</vt:lpstr>
      <vt:lpstr>Calibri</vt:lpstr>
      <vt:lpstr>Roboto Slab</vt:lpstr>
      <vt:lpstr>Marina</vt:lpstr>
      <vt:lpstr>think-cell Slide</vt:lpstr>
      <vt:lpstr>Kohler: processo produtivo de louças sanitárias</vt:lpstr>
      <vt:lpstr>PowerPoint Presentation</vt:lpstr>
      <vt:lpstr>Fluxograma do processo produtivo</vt:lpstr>
      <vt:lpstr>Etapas potenciais do processo produtivo para aprimoramento</vt:lpstr>
      <vt:lpstr>Consumo de recursos disponíveis</vt:lpstr>
      <vt:lpstr>Detalhes Ambientais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Kohler: processo produtivo de louças sanitárias</dc:title>
  <dc:creator>Caio Siqueira</dc:creator>
  <cp:lastModifiedBy>Venancio, Victor</cp:lastModifiedBy>
  <cp:revision>3</cp:revision>
  <dcterms:modified xsi:type="dcterms:W3CDTF">2020-04-17T12:46:13Z</dcterms:modified>
</cp:coreProperties>
</file>